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rawings/drawing1.xml" ContentType="application/vnd.openxmlformats-officedocument.drawingml.chartshapes+xml"/>
  <Override PartName="/ppt/tags/tag9.xml" ContentType="application/vnd.openxmlformats-officedocument.presentationml.tags+xml"/>
  <Override PartName="/ppt/notesSlides/notesSlide6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0.xml" ContentType="application/vnd.openxmlformats-officedocument.presentationml.tags+xml"/>
  <Override PartName="/ppt/notesSlides/notesSlide7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11.xml" ContentType="application/vnd.openxmlformats-officedocument.presentationml.tags+xml"/>
  <Override PartName="/ppt/notesSlides/notesSlide8.xml" ContentType="application/vnd.openxmlformats-officedocument.presentationml.notesSlide+xml"/>
  <Override PartName="/ppt/tags/tag12.xml" ContentType="application/vnd.openxmlformats-officedocument.presentationml.tags+xml"/>
  <Override PartName="/ppt/notesSlides/notesSlide9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10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5.xml" ContentType="application/vnd.openxmlformats-officedocument.presentationml.tags+xml"/>
  <Override PartName="/ppt/notesSlides/notesSlide11.xml" ContentType="application/vnd.openxmlformats-officedocument.presentationml.notesSlide+xml"/>
  <Override PartName="/ppt/tags/tag16.xml" ContentType="application/vnd.openxmlformats-officedocument.presentationml.tags+xml"/>
  <Override PartName="/ppt/notesSlides/notesSlide12.xml" ContentType="application/vnd.openxmlformats-officedocument.presentationml.notesSlide+xml"/>
  <Override PartName="/ppt/tags/tag17.xml" ContentType="application/vnd.openxmlformats-officedocument.presentationml.tags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21.xml" ContentType="application/vnd.openxmlformats-officedocument.presentationml.tags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22.xml" ContentType="application/vnd.openxmlformats-officedocument.presentationml.tags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23.xml" ContentType="application/vnd.openxmlformats-officedocument.presentationml.tags+xml"/>
  <Override PartName="/ppt/notesSlides/notesSlide13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24.xml" ContentType="application/vnd.openxmlformats-officedocument.presentationml.tags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27"/>
  </p:notesMasterIdLst>
  <p:sldIdLst>
    <p:sldId id="256" r:id="rId5"/>
    <p:sldId id="346" r:id="rId6"/>
    <p:sldId id="406" r:id="rId7"/>
    <p:sldId id="401" r:id="rId8"/>
    <p:sldId id="324" r:id="rId9"/>
    <p:sldId id="394" r:id="rId10"/>
    <p:sldId id="335" r:id="rId11"/>
    <p:sldId id="405" r:id="rId12"/>
    <p:sldId id="343" r:id="rId13"/>
    <p:sldId id="379" r:id="rId14"/>
    <p:sldId id="400" r:id="rId15"/>
    <p:sldId id="391" r:id="rId16"/>
    <p:sldId id="381" r:id="rId17"/>
    <p:sldId id="396" r:id="rId18"/>
    <p:sldId id="397" r:id="rId19"/>
    <p:sldId id="398" r:id="rId20"/>
    <p:sldId id="338" r:id="rId21"/>
    <p:sldId id="393" r:id="rId22"/>
    <p:sldId id="339" r:id="rId23"/>
    <p:sldId id="387" r:id="rId24"/>
    <p:sldId id="357" r:id="rId25"/>
    <p:sldId id="404" r:id="rId26"/>
  </p:sldIdLst>
  <p:sldSz cx="12192000" cy="6858000"/>
  <p:notesSz cx="6797675" cy="9926638"/>
  <p:custDataLst>
    <p:tags r:id="rId28"/>
  </p:custDataLst>
  <p:defaultTextStyle>
    <a:defPPr>
      <a:defRPr lang="x-non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rešimir Dominis" initials="KD" lastIdx="2" clrIdx="0">
    <p:extLst>
      <p:ext uri="{19B8F6BF-5375-455C-9EA6-DF929625EA0E}">
        <p15:presenceInfo xmlns:p15="http://schemas.microsoft.com/office/powerpoint/2012/main" userId="Krešimir Dominis" providerId="None"/>
      </p:ext>
    </p:extLst>
  </p:cmAuthor>
  <p:cmAuthor id="2" name="Krešimir Dominis" initials="KD [2]" lastIdx="1" clrIdx="1">
    <p:extLst>
      <p:ext uri="{19B8F6BF-5375-455C-9EA6-DF929625EA0E}">
        <p15:presenceInfo xmlns:p15="http://schemas.microsoft.com/office/powerpoint/2012/main" userId="S::kresimir.dominis@fzo.gov.hr::64a170ce-7b6a-4557-bc28-b630e7465e8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2D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988" autoAdjust="0"/>
    <p:restoredTop sz="94595"/>
  </p:normalViewPr>
  <p:slideViewPr>
    <p:cSldViewPr snapToGrid="0">
      <p:cViewPr varScale="1">
        <p:scale>
          <a:sx n="108" d="100"/>
          <a:sy n="108" d="100"/>
        </p:scale>
        <p:origin x="942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Relationship Id="rId8" Type="http://schemas.openxmlformats.org/officeDocument/2006/relationships/slide" Target="slides/slide4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https://fondzaobnovu.sharepoint.com/sites/FZOODLUKE/Zajednicki%20dokumenti/General/OBNOVA/DASHBOARDI/DASHBOARDI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User\AppData\Local\Microsoft\Windows\INetCache\Content.Outlook\MM0GAEI5\JN_DASHBOARD_31_12_2021.xlsx" TargetMode="External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https://fondzaobnovu.sharepoint.com/sites/FZOODLUKE/Zajednicki%20dokumenti/General/OBNOVA/DASHBOARDI/MPGI%20dinamika/2021-12-24%20-%20MPGI%20dinamika%20-%20Copy.xlsx" TargetMode="Externa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chartUserShapes" Target="../drawings/drawing1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https://fondzaobnovu.sharepoint.com/sites/FZOODLUKE/Zajednicki%20dokumenti/General/OBNOVA/DASHBOARDI/DASHBOARDI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https://fondzaobnovu.sharepoint.com/sites/FZOODLUKE/Zajednicki%20dokumenti/General/OBNOVA/DASHBOARDI/DASHBOARDI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https://fondzaobnovu.sharepoint.com/sites/FZOODLUKE/Zajednicki%20dokumenti/General/OBNOVA/DASHBOARDI/DASHBOARDI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https://fondzaobnovu.sharepoint.com/sites/FZOODLUKE/Zajednicki%20dokumenti/General/OBNOVA/DASHBOARDI/DASHBOARDI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https://fondzaobnovu.sharepoint.com/sites/FZOODLUKE/Zajednicki%20dokumenti/General/OBNOVA/DASHBOARDI/DASHBOARDI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https://fondzaobnovu.sharepoint.com/sites/FZOODLUKE/Zajednicki%20dokumenti/General/OBNOVA/DASHBOARDI/DASHBOARDI%20B.xlsx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https://fondzaobnovu.sharepoint.com/sites/FZOODLUKE/Zajednicki%20dokumenti/General/OBNOVA/DASHBOARDI/DASHBOARDI.xlsx" TargetMode="External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0" i="0" u="none" strike="noStrike" kern="1200" spc="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hr-HR" sz="1800">
                <a:solidFill>
                  <a:schemeClr val="tx1"/>
                </a:solidFill>
              </a:rPr>
              <a:t>Pregled zahtjeva po nadležnosti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spc="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sr-Latn-RS"/>
        </a:p>
      </c:txPr>
    </c:title>
    <c:autoTitleDeleted val="0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9.3205009347799225E-2"/>
          <c:y val="0.24917900844111937"/>
          <c:w val="0.81358998130440152"/>
          <c:h val="0.7508209915588806"/>
        </c:manualLayout>
      </c:layout>
      <c:pie3D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>
                  <a:shade val="76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5CDF-4D79-87D2-A0756C22E283}"/>
              </c:ext>
            </c:extLst>
          </c:dPt>
          <c:dPt>
            <c:idx val="1"/>
            <c:bubble3D val="0"/>
            <c:spPr>
              <a:solidFill>
                <a:schemeClr val="accent1">
                  <a:tint val="77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5CDF-4D79-87D2-A0756C22E283}"/>
              </c:ext>
            </c:extLst>
          </c:dPt>
          <c:dLbls>
            <c:dLbl>
              <c:idx val="0"/>
              <c:layout>
                <c:manualLayout>
                  <c:x val="-5.2825066256621742E-3"/>
                  <c:y val="-0.52070564660416518"/>
                </c:manualLayout>
              </c:layout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49545401994929811"/>
                      <c:h val="0.3307504472912044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5CDF-4D79-87D2-A0756C22E283}"/>
                </c:ext>
              </c:extLst>
            </c:dLbl>
            <c:dLbl>
              <c:idx val="1"/>
              <c:layout>
                <c:manualLayout>
                  <c:x val="0"/>
                  <c:y val="-7.124664233402514E-2"/>
                </c:manualLayout>
              </c:layout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35648611545202424"/>
                      <c:h val="0.29238227146814405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5CDF-4D79-87D2-A0756C22E28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sr-Latn-RS"/>
              </a:p>
            </c:txPr>
            <c:showLegendKey val="0"/>
            <c:showVal val="1"/>
            <c:showCatName val="1"/>
            <c:showSerName val="0"/>
            <c:showPercent val="1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MPGI!$Q$6:$Q$7</c:f>
              <c:strCache>
                <c:ptCount val="2"/>
                <c:pt idx="0">
                  <c:v>Broj zahtjeva koji su u nadležnosti Središnjeg državnog ureda za obnovu i stambeno zbrinjavanje</c:v>
                </c:pt>
                <c:pt idx="1">
                  <c:v>Broj zahtjeva koji su u nadležnosti Fonda za obnovu</c:v>
                </c:pt>
              </c:strCache>
            </c:strRef>
          </c:cat>
          <c:val>
            <c:numRef>
              <c:f>MPGI!$R$6:$R$7</c:f>
              <c:numCache>
                <c:formatCode>_-* #,##0_-;\-* #,##0_-;_-* "-"??_-;_-@_-</c:formatCode>
                <c:ptCount val="2"/>
                <c:pt idx="0">
                  <c:v>10892</c:v>
                </c:pt>
                <c:pt idx="1">
                  <c:v>37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CDF-4D79-87D2-A0756C22E28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</c:pie3D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sr-Latn-R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0494930086759758"/>
          <c:y val="0.33190051058587405"/>
          <c:w val="0.45095275115565636"/>
          <c:h val="0.5230484387037011"/>
        </c:manualLayout>
      </c:layout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>
                  <a:shade val="53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745-4900-8534-0CF82164FD5F}"/>
              </c:ext>
            </c:extLst>
          </c:dPt>
          <c:dPt>
            <c:idx val="1"/>
            <c:bubble3D val="0"/>
            <c:spPr>
              <a:solidFill>
                <a:schemeClr val="accent1">
                  <a:shade val="76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745-4900-8534-0CF82164FD5F}"/>
              </c:ext>
            </c:extLst>
          </c:dPt>
          <c:dPt>
            <c:idx val="2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1745-4900-8534-0CF82164FD5F}"/>
              </c:ext>
            </c:extLst>
          </c:dPt>
          <c:dPt>
            <c:idx val="3"/>
            <c:bubble3D val="0"/>
            <c:spPr>
              <a:solidFill>
                <a:schemeClr val="accent1">
                  <a:shade val="92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1745-4900-8534-0CF82164FD5F}"/>
              </c:ext>
            </c:extLst>
          </c:dPt>
          <c:dPt>
            <c:idx val="4"/>
            <c:bubble3D val="0"/>
            <c:spPr>
              <a:solidFill>
                <a:schemeClr val="accent1">
                  <a:tint val="77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1745-4900-8534-0CF82164FD5F}"/>
              </c:ext>
            </c:extLst>
          </c:dPt>
          <c:dPt>
            <c:idx val="5"/>
            <c:bubble3D val="0"/>
            <c:spPr>
              <a:solidFill>
                <a:schemeClr val="accent1">
                  <a:tint val="54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1745-4900-8534-0CF82164FD5F}"/>
              </c:ext>
            </c:extLst>
          </c:dPt>
          <c:dPt>
            <c:idx val="6"/>
            <c:bubble3D val="0"/>
            <c:spPr>
              <a:solidFill>
                <a:schemeClr val="accent1">
                  <a:tint val="6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1745-4900-8534-0CF82164FD5F}"/>
              </c:ext>
            </c:extLst>
          </c:dPt>
          <c:dPt>
            <c:idx val="7"/>
            <c:bubble3D val="0"/>
            <c:spPr>
              <a:solidFill>
                <a:schemeClr val="accent1">
                  <a:tint val="48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1745-4900-8534-0CF82164FD5F}"/>
              </c:ext>
            </c:extLst>
          </c:dPt>
          <c:dPt>
            <c:idx val="8"/>
            <c:bubble3D val="0"/>
            <c:spPr>
              <a:solidFill>
                <a:schemeClr val="accent1">
                  <a:tint val="74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1745-4900-8534-0CF82164FD5F}"/>
              </c:ext>
            </c:extLst>
          </c:dPt>
          <c:dPt>
            <c:idx val="9"/>
            <c:bubble3D val="0"/>
            <c:spPr>
              <a:solidFill>
                <a:schemeClr val="accent1">
                  <a:tint val="63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1745-4900-8534-0CF82164FD5F}"/>
              </c:ext>
            </c:extLst>
          </c:dPt>
          <c:dPt>
            <c:idx val="10"/>
            <c:bubble3D val="0"/>
            <c:spPr>
              <a:solidFill>
                <a:schemeClr val="accent1">
                  <a:tint val="52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5-1745-4900-8534-0CF82164FD5F}"/>
              </c:ext>
            </c:extLst>
          </c:dPt>
          <c:dPt>
            <c:idx val="11"/>
            <c:bubble3D val="0"/>
            <c:spPr>
              <a:solidFill>
                <a:schemeClr val="accent1">
                  <a:tint val="41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7-1745-4900-8534-0CF82164FD5F}"/>
              </c:ext>
            </c:extLst>
          </c:dPt>
          <c:dLbls>
            <c:dLbl>
              <c:idx val="0"/>
              <c:layout>
                <c:manualLayout>
                  <c:x val="0.22572527442116147"/>
                  <c:y val="9.0947813428991386E-2"/>
                </c:manualLayout>
              </c:layout>
              <c:spPr>
                <a:no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  <a:extLst>
                    <a:ext uri="{C807C97D-BFC1-408E-A445-0C87EB9F89A2}">
                      <ask:lineSketchStyleProps xmlns:ask="http://schemas.microsoft.com/office/drawing/2018/sketchyshapes" sd="0">
                        <a:custGeom>
                          <a:avLst/>
                          <a:gdLst/>
                          <a:ahLst/>
                          <a:cxnLst/>
                          <a:rect l="0" t="0" r="0" b="0"/>
                          <a:pathLst/>
                        </a:custGeom>
                        <ask:type/>
                      </ask:lineSketchStyleProps>
                    </a:ext>
                  </a:extLst>
                </a:ln>
                <a:effectLst/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dk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sr-Latn-RS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>
                        <a:gd name="adj1" fmla="val -108570"/>
                        <a:gd name="adj2" fmla="val 62965"/>
                      </a:avLst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1-1745-4900-8534-0CF82164FD5F}"/>
                </c:ext>
              </c:extLst>
            </c:dLbl>
            <c:dLbl>
              <c:idx val="1"/>
              <c:layout>
                <c:manualLayout>
                  <c:x val="0.17305838104035981"/>
                  <c:y val="3.5581502329223122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1745-4900-8534-0CF82164FD5F}"/>
                </c:ext>
              </c:extLst>
            </c:dLbl>
            <c:dLbl>
              <c:idx val="2"/>
              <c:layout>
                <c:manualLayout>
                  <c:x val="-6.8404227341419099E-2"/>
                  <c:y val="0.10744240745729476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1745-4900-8534-0CF82164FD5F}"/>
                </c:ext>
              </c:extLst>
            </c:dLbl>
            <c:dLbl>
              <c:idx val="3"/>
              <c:layout>
                <c:manualLayout>
                  <c:x val="-0.17409557274153586"/>
                  <c:y val="7.2937097584760163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1745-4900-8534-0CF82164FD5F}"/>
                </c:ext>
              </c:extLst>
            </c:dLbl>
            <c:dLbl>
              <c:idx val="4"/>
              <c:layout>
                <c:manualLayout>
                  <c:x val="-0.18016982507301005"/>
                  <c:y val="4.6803639480056274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1745-4900-8534-0CF82164FD5F}"/>
                </c:ext>
              </c:extLst>
            </c:dLbl>
            <c:dLbl>
              <c:idx val="5"/>
              <c:layout>
                <c:manualLayout>
                  <c:x val="-0.18686530582723807"/>
                  <c:y val="3.6484795064599118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1745-4900-8534-0CF82164FD5F}"/>
                </c:ext>
              </c:extLst>
            </c:dLbl>
            <c:dLbl>
              <c:idx val="6"/>
              <c:layout>
                <c:manualLayout>
                  <c:x val="-0.30157133948494919"/>
                  <c:y val="-3.6114576982517826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1745-4900-8534-0CF82164FD5F}"/>
                </c:ext>
              </c:extLst>
            </c:dLbl>
            <c:dLbl>
              <c:idx val="7"/>
              <c:layout>
                <c:manualLayout>
                  <c:x val="-0.277405061475128"/>
                  <c:y val="-0.16011439738736311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1745-4900-8534-0CF82164FD5F}"/>
                </c:ext>
              </c:extLst>
            </c:dLbl>
            <c:dLbl>
              <c:idx val="8"/>
              <c:layout>
                <c:manualLayout>
                  <c:x val="-0.11166169180245042"/>
                  <c:y val="-0.2205812502658481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409173908813719"/>
                      <c:h val="0.1462818289088334"/>
                    </c:manualLayout>
                  </c15:layout>
                </c:ext>
                <c:ext xmlns:c16="http://schemas.microsoft.com/office/drawing/2014/chart" uri="{C3380CC4-5D6E-409C-BE32-E72D297353CC}">
                  <c16:uniqueId val="{00000011-1745-4900-8534-0CF82164FD5F}"/>
                </c:ext>
              </c:extLst>
            </c:dLbl>
            <c:dLbl>
              <c:idx val="9"/>
              <c:layout>
                <c:manualLayout>
                  <c:x val="0.10375049469918469"/>
                  <c:y val="-0.19537747278109399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7660420482846776"/>
                      <c:h val="0.1617490677593614"/>
                    </c:manualLayout>
                  </c15:layout>
                </c:ext>
                <c:ext xmlns:c16="http://schemas.microsoft.com/office/drawing/2014/chart" uri="{C3380CC4-5D6E-409C-BE32-E72D297353CC}">
                  <c16:uniqueId val="{00000013-1745-4900-8534-0CF82164FD5F}"/>
                </c:ext>
              </c:extLst>
            </c:dLbl>
            <c:dLbl>
              <c:idx val="10"/>
              <c:layout>
                <c:manualLayout>
                  <c:x val="0.3122592188073805"/>
                  <c:y val="-0.16893602474002026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1745-4900-8534-0CF82164FD5F}"/>
                </c:ext>
              </c:extLst>
            </c:dLbl>
            <c:dLbl>
              <c:idx val="11"/>
              <c:layout>
                <c:manualLayout>
                  <c:x val="0.33004835530666427"/>
                  <c:y val="-1.5168898215233765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8684759767624235"/>
                      <c:h val="0.25333787047408396"/>
                    </c:manualLayout>
                  </c15:layout>
                </c:ext>
                <c:ext xmlns:c16="http://schemas.microsoft.com/office/drawing/2014/chart" uri="{C3380CC4-5D6E-409C-BE32-E72D297353CC}">
                  <c16:uniqueId val="{00000017-1745-4900-8534-0CF82164FD5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sr-Latn-RS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</c:ext>
            </c:extLst>
          </c:dLbls>
          <c:cat>
            <c:strRef>
              <c:f>Ugovori!$B$15:$B$26</c:f>
              <c:strCache>
                <c:ptCount val="12"/>
                <c:pt idx="0">
                  <c:v>Usluge operativne koordinacije</c:v>
                </c:pt>
                <c:pt idx="1">
                  <c:v>Usluge tehničko-financijske kontrole</c:v>
                </c:pt>
                <c:pt idx="2">
                  <c:v>Usluge projektiranja</c:v>
                </c:pt>
                <c:pt idx="3">
                  <c:v>Usluge kontrole projekata</c:v>
                </c:pt>
                <c:pt idx="4">
                  <c:v>Izvođenje radova (uklanjanje, obnova i izgradnja zamjenskih obiteljskih kuća)</c:v>
                </c:pt>
                <c:pt idx="5">
                  <c:v>Usluga stručnog nadzora</c:v>
                </c:pt>
                <c:pt idx="6">
                  <c:v>Usluga ovlaštenog inženjera građevinarstva</c:v>
                </c:pt>
                <c:pt idx="7">
                  <c:v>Usluga stalnog sudskog vještaka i ovlaštenog inženjera</c:v>
                </c:pt>
                <c:pt idx="8">
                  <c:v>Nabava i najam mobilnih kuća za osiguranje privremenog smještaja</c:v>
                </c:pt>
                <c:pt idx="9">
                  <c:v>Usluga izrade smjernica za projektiranje novih obiteljskih kuća u Gradu Zagrebu i Krapinsko-zagorskoj županiji</c:v>
                </c:pt>
                <c:pt idx="10">
                  <c:v>Usluga ovlaštenih inženjera geodezije</c:v>
                </c:pt>
                <c:pt idx="11">
                  <c:v>Usluga stručnog nadzora izvođenja radova podloge, terase i nadstrešnice te postavljanja i spajanja MSJ na komunalnu infrastrukturu</c:v>
                </c:pt>
              </c:strCache>
            </c:strRef>
          </c:cat>
          <c:val>
            <c:numRef>
              <c:f>Ugovori!$C$15:$C$26</c:f>
              <c:numCache>
                <c:formatCode>General</c:formatCode>
                <c:ptCount val="12"/>
                <c:pt idx="0">
                  <c:v>31</c:v>
                </c:pt>
                <c:pt idx="1">
                  <c:v>58</c:v>
                </c:pt>
                <c:pt idx="2">
                  <c:v>15</c:v>
                </c:pt>
                <c:pt idx="3">
                  <c:v>2</c:v>
                </c:pt>
                <c:pt idx="4">
                  <c:v>25</c:v>
                </c:pt>
                <c:pt idx="5">
                  <c:v>17</c:v>
                </c:pt>
                <c:pt idx="6">
                  <c:v>4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3</c:v>
                </c:pt>
                <c:pt idx="11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1745-4900-8534-0CF82164FD5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sr-Latn-R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'MPGI MJESECNO'!$C$16</c:f>
              <c:strCache>
                <c:ptCount val="1"/>
                <c:pt idx="0">
                  <c:v>ODLUKA, PRIVREMENIH ODLUKA I RJEŠENJA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  <a:sp3d/>
          </c:spPr>
          <c:invertIfNegative val="0"/>
          <c:dLbls>
            <c:dLbl>
              <c:idx val="0"/>
              <c:layout>
                <c:manualLayout>
                  <c:x val="7.9096048012671314E-3"/>
                  <c:y val="-3.177305532326898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218-4510-8574-6AE4CECFDBCC}"/>
                </c:ext>
              </c:extLst>
            </c:dLbl>
            <c:dLbl>
              <c:idx val="1"/>
              <c:layout>
                <c:manualLayout>
                  <c:x val="9.4915257615205573E-3"/>
                  <c:y val="-2.382979149245171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218-4510-8574-6AE4CECFDBCC}"/>
                </c:ext>
              </c:extLst>
            </c:dLbl>
            <c:dLbl>
              <c:idx val="2"/>
              <c:layout>
                <c:manualLayout>
                  <c:x val="1.2546125947298368E-2"/>
                  <c:y val="-3.240740740740757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2.1579336629353192E-2"/>
                      <c:h val="7.324074074074074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D218-4510-8574-6AE4CECFDBCC}"/>
                </c:ext>
              </c:extLst>
            </c:dLbl>
            <c:dLbl>
              <c:idx val="3"/>
              <c:layout>
                <c:manualLayout>
                  <c:x val="1.8819188920947399E-2"/>
                  <c:y val="-2.314814814814823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218-4510-8574-6AE4CECFDBCC}"/>
                </c:ext>
              </c:extLst>
            </c:dLbl>
            <c:dLbl>
              <c:idx val="4"/>
              <c:layout>
                <c:manualLayout>
                  <c:x val="1.0455104956081974E-2"/>
                  <c:y val="-2.314814814814823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D218-4510-8574-6AE4CECFDBCC}"/>
                </c:ext>
              </c:extLst>
            </c:dLbl>
            <c:dLbl>
              <c:idx val="5"/>
              <c:layout>
                <c:manualLayout>
                  <c:x val="9.4915257615204411E-3"/>
                  <c:y val="-2.7801423407860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D218-4510-8574-6AE4CECFDBCC}"/>
                </c:ext>
              </c:extLst>
            </c:dLbl>
            <c:dLbl>
              <c:idx val="6"/>
              <c:layout>
                <c:manualLayout>
                  <c:x val="1.1073446721773867E-2"/>
                  <c:y val="-2.780142340786032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D218-4510-8574-6AE4CECFDBCC}"/>
                </c:ext>
              </c:extLst>
            </c:dLbl>
            <c:dLbl>
              <c:idx val="7"/>
              <c:layout>
                <c:manualLayout>
                  <c:x val="1.0659054069100886E-2"/>
                  <c:y val="-2.301290580065664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D218-4510-8574-6AE4CECFDBCC}"/>
                </c:ext>
              </c:extLst>
            </c:dLbl>
            <c:dLbl>
              <c:idx val="8"/>
              <c:layout>
                <c:manualLayout>
                  <c:x val="1.0659054069100886E-2"/>
                  <c:y val="-1.150645290032829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D218-4510-8574-6AE4CECFDBC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sr-Latn-R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MPGI MJESECNO'!$A$17:$A$25</c:f>
              <c:strCache>
                <c:ptCount val="9"/>
                <c:pt idx="0">
                  <c:v> TRAVANJ </c:v>
                </c:pt>
                <c:pt idx="1">
                  <c:v> SVIBANJ </c:v>
                </c:pt>
                <c:pt idx="2">
                  <c:v> LIPANJ </c:v>
                </c:pt>
                <c:pt idx="3">
                  <c:v> SRPANJ </c:v>
                </c:pt>
                <c:pt idx="4">
                  <c:v> KOLOVOZ </c:v>
                </c:pt>
                <c:pt idx="5">
                  <c:v> RUJAN </c:v>
                </c:pt>
                <c:pt idx="6">
                  <c:v> LISTOPAD </c:v>
                </c:pt>
                <c:pt idx="7">
                  <c:v> STUDENI </c:v>
                </c:pt>
                <c:pt idx="8">
                  <c:v> PROSINAC </c:v>
                </c:pt>
              </c:strCache>
            </c:strRef>
          </c:cat>
          <c:val>
            <c:numRef>
              <c:f>'MPGI MJESECNO'!$C$17:$C$25</c:f>
              <c:numCache>
                <c:formatCode>General</c:formatCode>
                <c:ptCount val="9"/>
                <c:pt idx="0">
                  <c:v>144</c:v>
                </c:pt>
                <c:pt idx="1">
                  <c:v>77</c:v>
                </c:pt>
                <c:pt idx="2">
                  <c:v>9</c:v>
                </c:pt>
                <c:pt idx="3">
                  <c:v>92</c:v>
                </c:pt>
                <c:pt idx="4">
                  <c:v>20</c:v>
                </c:pt>
                <c:pt idx="5">
                  <c:v>53</c:v>
                </c:pt>
                <c:pt idx="6">
                  <c:v>136</c:v>
                </c:pt>
                <c:pt idx="7">
                  <c:v>265</c:v>
                </c:pt>
                <c:pt idx="8">
                  <c:v>4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D218-4510-8574-6AE4CECFDBC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1741200815"/>
        <c:axId val="1741202063"/>
        <c:axId val="0"/>
      </c:bar3DChart>
      <c:catAx>
        <c:axId val="174120081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r-Latn-RS"/>
          </a:p>
        </c:txPr>
        <c:crossAx val="1741202063"/>
        <c:crosses val="autoZero"/>
        <c:auto val="1"/>
        <c:lblAlgn val="ctr"/>
        <c:lblOffset val="100"/>
        <c:noMultiLvlLbl val="0"/>
      </c:catAx>
      <c:valAx>
        <c:axId val="174120206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r-Latn-RS"/>
          </a:p>
        </c:txPr>
        <c:crossAx val="17412008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sr-Latn-RS"/>
    </a:p>
  </c:txPr>
  <c:externalData r:id="rId3">
    <c:autoUpdate val="0"/>
  </c:externalData>
  <c:userShapes r:id="rId4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  <a:sp3d/>
          </c:spPr>
          <c:invertIfNegative val="0"/>
          <c:dLbls>
            <c:dLbl>
              <c:idx val="0"/>
              <c:layout>
                <c:manualLayout>
                  <c:x val="9.0488986604779931E-3"/>
                  <c:y val="-1.726481783578042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DD2C-407A-8C23-C86632CA41D2}"/>
                </c:ext>
              </c:extLst>
            </c:dLbl>
            <c:dLbl>
              <c:idx val="7"/>
              <c:layout>
                <c:manualLayout>
                  <c:x val="3.8780994259191401E-3"/>
                  <c:y val="-2.301975711437375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DD2C-407A-8C23-C86632CA41D2}"/>
                </c:ext>
              </c:extLst>
            </c:dLbl>
            <c:dLbl>
              <c:idx val="8"/>
              <c:layout>
                <c:manualLayout>
                  <c:x val="2.5853996172794267E-3"/>
                  <c:y val="-8.632408917890171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D2C-407A-8C23-C86632CA41D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sr-Latn-R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SHEET ZA PREZENTACIJU'!$B$39:$B$47</c:f>
              <c:strCache>
                <c:ptCount val="9"/>
                <c:pt idx="0">
                  <c:v>TRAVANJ</c:v>
                </c:pt>
                <c:pt idx="1">
                  <c:v>SVIBANJ</c:v>
                </c:pt>
                <c:pt idx="2">
                  <c:v>LIPANJ</c:v>
                </c:pt>
                <c:pt idx="3">
                  <c:v>SRPANJ</c:v>
                </c:pt>
                <c:pt idx="4">
                  <c:v>KOLOVOZ</c:v>
                </c:pt>
                <c:pt idx="5">
                  <c:v>RUJAN</c:v>
                </c:pt>
                <c:pt idx="6">
                  <c:v>LISTOPAD</c:v>
                </c:pt>
                <c:pt idx="7">
                  <c:v>STUDENI</c:v>
                </c:pt>
                <c:pt idx="8">
                  <c:v>PROSINAC</c:v>
                </c:pt>
              </c:strCache>
              <c:extLst/>
            </c:strRef>
          </c:cat>
          <c:val>
            <c:numRef>
              <c:f>'SHEET ZA PREZENTACIJU'!$F$39:$F$47</c:f>
              <c:numCache>
                <c:formatCode>General</c:formatCode>
                <c:ptCount val="9"/>
                <c:pt idx="0">
                  <c:v>9</c:v>
                </c:pt>
                <c:pt idx="1">
                  <c:v>27</c:v>
                </c:pt>
                <c:pt idx="2">
                  <c:v>33</c:v>
                </c:pt>
                <c:pt idx="3">
                  <c:v>45</c:v>
                </c:pt>
                <c:pt idx="4">
                  <c:v>39</c:v>
                </c:pt>
                <c:pt idx="5">
                  <c:v>33</c:v>
                </c:pt>
                <c:pt idx="6">
                  <c:v>83</c:v>
                </c:pt>
                <c:pt idx="7">
                  <c:v>194</c:v>
                </c:pt>
                <c:pt idx="8">
                  <c:v>220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0-DD2C-407A-8C23-C86632CA41D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2016903615"/>
        <c:axId val="2016905695"/>
        <c:axId val="0"/>
      </c:bar3DChart>
      <c:catAx>
        <c:axId val="201690361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r-Latn-RS"/>
          </a:p>
        </c:txPr>
        <c:crossAx val="2016905695"/>
        <c:crosses val="autoZero"/>
        <c:auto val="1"/>
        <c:lblAlgn val="ctr"/>
        <c:lblOffset val="100"/>
        <c:noMultiLvlLbl val="0"/>
      </c:catAx>
      <c:valAx>
        <c:axId val="201690569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r-Latn-RS"/>
          </a:p>
        </c:txPr>
        <c:crossAx val="20169036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sr-Latn-R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strRef>
          <c:f>'DASH - DOKUMENTI'!$D$16</c:f>
          <c:strCache>
            <c:ptCount val="1"/>
            <c:pt idx="0">
              <c:v>PRIVREMENE ODLUKE I ZAKLJUČCI</c:v>
            </c:pt>
          </c:strCache>
        </c:strRef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sr-Latn-RS"/>
        </a:p>
      </c:txPr>
    </c:title>
    <c:autoTitleDeleted val="0"/>
    <c:plotArea>
      <c:layout>
        <c:manualLayout>
          <c:layoutTarget val="inner"/>
          <c:xMode val="edge"/>
          <c:yMode val="edge"/>
          <c:x val="0.13041322125836385"/>
          <c:y val="0.21137684819499866"/>
          <c:w val="0.74466552844156819"/>
          <c:h val="0.74655568954238027"/>
        </c:manualLayout>
      </c:layout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0235-438E-B50D-28723FC316F1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0235-438E-B50D-28723FC316F1}"/>
              </c:ext>
            </c:extLst>
          </c:dPt>
          <c:dLbls>
            <c:dLbl>
              <c:idx val="0"/>
              <c:layout>
                <c:manualLayout>
                  <c:x val="8.8246605832741326E-2"/>
                  <c:y val="0.43835256404877188"/>
                </c:manualLayout>
              </c:layout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235-438E-B50D-28723FC316F1}"/>
                </c:ext>
              </c:extLst>
            </c:dLbl>
            <c:dLbl>
              <c:idx val="1"/>
              <c:layout>
                <c:manualLayout>
                  <c:x val="-8.4640096151902156E-2"/>
                  <c:y val="-0.37591363380801734"/>
                </c:manualLayout>
              </c:layout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26043805555555555"/>
                      <c:h val="0.31203194444444438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0235-438E-B50D-28723FC316F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sr-Latn-RS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'DASH - DOKUMENTI'!$D$17:$D$18</c:f>
              <c:strCache>
                <c:ptCount val="2"/>
                <c:pt idx="0">
                  <c:v>Izvršeno</c:v>
                </c:pt>
                <c:pt idx="1">
                  <c:v>U postupku</c:v>
                </c:pt>
              </c:strCache>
            </c:strRef>
          </c:cat>
          <c:val>
            <c:numRef>
              <c:f>'DASH - DOKUMENTI'!$E$17:$E$18</c:f>
              <c:numCache>
                <c:formatCode>General</c:formatCode>
                <c:ptCount val="2"/>
                <c:pt idx="0">
                  <c:v>160</c:v>
                </c:pt>
                <c:pt idx="1">
                  <c:v>2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235-438E-B50D-28723FC316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sr-Latn-R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strRef>
          <c:f>'DASH - DOKUMENTI'!$B$16</c:f>
          <c:strCache>
            <c:ptCount val="1"/>
            <c:pt idx="0">
              <c:v>ODLUKE I RJEŠENJA</c:v>
            </c:pt>
          </c:strCache>
        </c:strRef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sr-Latn-RS"/>
        </a:p>
      </c:txPr>
    </c:title>
    <c:autoTitleDeleted val="0"/>
    <c:plotArea>
      <c:layout>
        <c:manualLayout>
          <c:layoutTarget val="inner"/>
          <c:xMode val="edge"/>
          <c:yMode val="edge"/>
          <c:x val="0.17549549794065558"/>
          <c:y val="0.21893690463099466"/>
          <c:w val="0.65583195108154901"/>
          <c:h val="0.743098798405329"/>
        </c:manualLayout>
      </c:layout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03DE-4CE9-9B6F-120E27DD7B0A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03DE-4CE9-9B6F-120E27DD7B0A}"/>
              </c:ext>
            </c:extLst>
          </c:dPt>
          <c:dLbls>
            <c:dLbl>
              <c:idx val="0"/>
              <c:layout>
                <c:manualLayout>
                  <c:x val="0.29502406870851877"/>
                  <c:y val="0"/>
                </c:manualLayout>
              </c:layout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3DE-4CE9-9B6F-120E27DD7B0A}"/>
                </c:ext>
              </c:extLst>
            </c:dLbl>
            <c:dLbl>
              <c:idx val="1"/>
              <c:layout>
                <c:manualLayout>
                  <c:x val="-0.21137883650690942"/>
                  <c:y val="-5.4975588822392493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sr-Latn-RS"/>
                </a:p>
              </c:txPr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29924368363880632"/>
                      <c:h val="0.2662095065205195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03DE-4CE9-9B6F-120E27DD7B0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sr-Latn-RS"/>
              </a:p>
            </c:txPr>
            <c:showLegendKey val="0"/>
            <c:showVal val="1"/>
            <c:showCatName val="1"/>
            <c:showSerName val="0"/>
            <c:showPercent val="1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'DASH - DOKUMENTI'!$B$17:$B$18</c:f>
              <c:strCache>
                <c:ptCount val="2"/>
                <c:pt idx="0">
                  <c:v>Izvršeno</c:v>
                </c:pt>
                <c:pt idx="1">
                  <c:v>U postupku</c:v>
                </c:pt>
              </c:strCache>
            </c:strRef>
          </c:cat>
          <c:val>
            <c:numRef>
              <c:f>'DASH - DOKUMENTI'!$C$17:$C$18</c:f>
              <c:numCache>
                <c:formatCode>General</c:formatCode>
                <c:ptCount val="2"/>
                <c:pt idx="0">
                  <c:v>1042</c:v>
                </c:pt>
                <c:pt idx="1">
                  <c:v>1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3DE-4CE9-9B6F-120E27DD7B0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sr-Latn-R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0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2000" dirty="0" err="1"/>
              <a:t>Broj</a:t>
            </a:r>
            <a:r>
              <a:rPr lang="en-US" sz="2000" dirty="0"/>
              <a:t> </a:t>
            </a:r>
            <a:r>
              <a:rPr lang="en-US" sz="2000" dirty="0" err="1"/>
              <a:t>isplata</a:t>
            </a:r>
            <a:r>
              <a:rPr lang="hr-HR" sz="2000" dirty="0"/>
              <a:t> po vrsti akta</a:t>
            </a:r>
            <a:endParaRPr lang="en-US" sz="200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sr-Latn-RS"/>
        </a:p>
      </c:txPr>
    </c:title>
    <c:autoTitleDeleted val="0"/>
    <c:plotArea>
      <c:layout>
        <c:manualLayout>
          <c:layoutTarget val="inner"/>
          <c:xMode val="edge"/>
          <c:yMode val="edge"/>
          <c:x val="0.12002734688104108"/>
          <c:y val="0.13814596092155149"/>
          <c:w val="0.75113961054269418"/>
          <c:h val="0.86185403907844849"/>
        </c:manualLayout>
      </c:layout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>
                  <a:shade val="76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CE7-4D5D-9983-8008A5DB9F75}"/>
              </c:ext>
            </c:extLst>
          </c:dPt>
          <c:dPt>
            <c:idx val="1"/>
            <c:bubble3D val="0"/>
            <c:spPr>
              <a:solidFill>
                <a:schemeClr val="accent1">
                  <a:tint val="77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ECE7-4D5D-9983-8008A5DB9F75}"/>
              </c:ext>
            </c:extLst>
          </c:dPt>
          <c:dLbls>
            <c:dLbl>
              <c:idx val="0"/>
              <c:layout>
                <c:manualLayout>
                  <c:x val="-3.7658333333333439E-2"/>
                  <c:y val="-0.17129629629629631"/>
                </c:manualLayout>
              </c:layout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ECE7-4D5D-9983-8008A5DB9F75}"/>
                </c:ext>
              </c:extLst>
            </c:dLbl>
            <c:dLbl>
              <c:idx val="1"/>
              <c:layout>
                <c:manualLayout>
                  <c:x val="-0.1184027777777778"/>
                  <c:y val="-5.8449074074074077E-2"/>
                </c:manualLayout>
              </c:layout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ECE7-4D5D-9983-8008A5DB9F7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sr-Latn-RS"/>
              </a:p>
            </c:txPr>
            <c:showLegendKey val="0"/>
            <c:showVal val="1"/>
            <c:showCatName val="1"/>
            <c:showSerName val="0"/>
            <c:showPercent val="1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ISPLATE!$B$14:$B$15</c:f>
              <c:strCache>
                <c:ptCount val="2"/>
                <c:pt idx="0">
                  <c:v>RJEŠENJE</c:v>
                </c:pt>
                <c:pt idx="1">
                  <c:v>ODLUKA</c:v>
                </c:pt>
              </c:strCache>
            </c:strRef>
          </c:cat>
          <c:val>
            <c:numRef>
              <c:f>ISPLATE!$G$14:$G$15</c:f>
              <c:numCache>
                <c:formatCode>General</c:formatCode>
                <c:ptCount val="2"/>
                <c:pt idx="0">
                  <c:v>793</c:v>
                </c:pt>
                <c:pt idx="1">
                  <c:v>2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CE7-4D5D-9983-8008A5DB9F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sr-Latn-R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0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hr-HR" sz="2000" dirty="0"/>
              <a:t>Iznos po</a:t>
            </a:r>
            <a:r>
              <a:rPr lang="hr-HR" sz="2000" baseline="0" dirty="0"/>
              <a:t> vrsti akta</a:t>
            </a:r>
            <a:endParaRPr lang="en-US" sz="200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sr-Latn-RS"/>
        </a:p>
      </c:txPr>
    </c:title>
    <c:autoTitleDeleted val="0"/>
    <c:plotArea>
      <c:layout>
        <c:manualLayout>
          <c:layoutTarget val="inner"/>
          <c:xMode val="edge"/>
          <c:yMode val="edge"/>
          <c:x val="0.12401936284910493"/>
          <c:y val="0.13814596092155149"/>
          <c:w val="0.75113961054269418"/>
          <c:h val="0.86185403907844849"/>
        </c:manualLayout>
      </c:layout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>
                  <a:shade val="76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D03-4F5B-93DA-384D39BEBD33}"/>
              </c:ext>
            </c:extLst>
          </c:dPt>
          <c:dPt>
            <c:idx val="1"/>
            <c:bubble3D val="0"/>
            <c:spPr>
              <a:solidFill>
                <a:schemeClr val="accent1">
                  <a:tint val="77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D03-4F5B-93DA-384D39BEBD33}"/>
              </c:ext>
            </c:extLst>
          </c:dPt>
          <c:dLbls>
            <c:dLbl>
              <c:idx val="0"/>
              <c:layout>
                <c:manualLayout>
                  <c:x val="-0.16339236111111111"/>
                  <c:y val="-0.11787037037037038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sr-Latn-RS"/>
                </a:p>
              </c:txPr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3712574850299401"/>
                      <c:h val="0.2625925925925926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BD03-4F5B-93DA-384D39BEBD33}"/>
                </c:ext>
              </c:extLst>
            </c:dLbl>
            <c:dLbl>
              <c:idx val="1"/>
              <c:layout>
                <c:manualLayout>
                  <c:x val="-7.4713310185185192E-2"/>
                  <c:y val="-0.12236111111111111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sr-Latn-RS"/>
                </a:p>
              </c:txPr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41117754629629621"/>
                      <c:h val="0.2625925925925926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BD03-4F5B-93DA-384D39BEBD3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sr-Latn-RS"/>
              </a:p>
            </c:txPr>
            <c:showLegendKey val="0"/>
            <c:showVal val="1"/>
            <c:showCatName val="0"/>
            <c:showSerName val="0"/>
            <c:showPercent val="1"/>
            <c:showBubbleSize val="0"/>
            <c:separator>
</c:separator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ISPLATE!$B$14:$B$15</c:f>
              <c:strCache>
                <c:ptCount val="2"/>
                <c:pt idx="0">
                  <c:v>RJEŠENJE</c:v>
                </c:pt>
                <c:pt idx="1">
                  <c:v>ODLUKA</c:v>
                </c:pt>
              </c:strCache>
            </c:strRef>
          </c:cat>
          <c:val>
            <c:numRef>
              <c:f>ISPLATE!$H$14:$H$15</c:f>
              <c:numCache>
                <c:formatCode>_-* #,##0.00\ [$kn-41A]_-;\-* #,##0.00\ [$kn-41A]_-;_-* "-"??\ [$kn-41A]_-;_-@_-</c:formatCode>
                <c:ptCount val="2"/>
                <c:pt idx="0">
                  <c:v>41241780.480000004</c:v>
                </c:pt>
                <c:pt idx="1">
                  <c:v>11817937.90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D03-4F5B-93DA-384D39BEBD3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sr-Latn-R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'SHEET ZA PREZENTACIJU'!$N$42</c:f>
              <c:strCache>
                <c:ptCount val="1"/>
                <c:pt idx="0">
                  <c:v>Jednostavna nabava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sr-Latn-R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HEET ZA PREZENTACIJU'!$M$43:$M$51</c:f>
              <c:strCache>
                <c:ptCount val="9"/>
                <c:pt idx="0">
                  <c:v>travanj</c:v>
                </c:pt>
                <c:pt idx="1">
                  <c:v>svibanj</c:v>
                </c:pt>
                <c:pt idx="2">
                  <c:v>lipanj</c:v>
                </c:pt>
                <c:pt idx="3">
                  <c:v>srpanj</c:v>
                </c:pt>
                <c:pt idx="4">
                  <c:v>kolovoz</c:v>
                </c:pt>
                <c:pt idx="5">
                  <c:v>rujan</c:v>
                </c:pt>
                <c:pt idx="6">
                  <c:v>listopad</c:v>
                </c:pt>
                <c:pt idx="7">
                  <c:v>studeni</c:v>
                </c:pt>
                <c:pt idx="8">
                  <c:v>prosinac</c:v>
                </c:pt>
              </c:strCache>
            </c:strRef>
          </c:cat>
          <c:val>
            <c:numRef>
              <c:f>'SHEET ZA PREZENTACIJU'!$N$43:$N$51</c:f>
              <c:numCache>
                <c:formatCode>General</c:formatCode>
                <c:ptCount val="9"/>
                <c:pt idx="0">
                  <c:v>19</c:v>
                </c:pt>
                <c:pt idx="1">
                  <c:v>80</c:v>
                </c:pt>
                <c:pt idx="2">
                  <c:v>33</c:v>
                </c:pt>
                <c:pt idx="3">
                  <c:v>55</c:v>
                </c:pt>
                <c:pt idx="4">
                  <c:v>21</c:v>
                </c:pt>
                <c:pt idx="5">
                  <c:v>33</c:v>
                </c:pt>
                <c:pt idx="6">
                  <c:v>6</c:v>
                </c:pt>
                <c:pt idx="7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26D-48E5-9C55-8CD950FD2627}"/>
            </c:ext>
          </c:extLst>
        </c:ser>
        <c:ser>
          <c:idx val="1"/>
          <c:order val="1"/>
          <c:tx>
            <c:strRef>
              <c:f>'SHEET ZA PREZENTACIJU'!$O$42</c:f>
              <c:strCache>
                <c:ptCount val="1"/>
                <c:pt idx="0">
                  <c:v>Dinamički sustavi (DNS)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sr-Latn-R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HEET ZA PREZENTACIJU'!$M$43:$M$51</c:f>
              <c:strCache>
                <c:ptCount val="9"/>
                <c:pt idx="0">
                  <c:v>travanj</c:v>
                </c:pt>
                <c:pt idx="1">
                  <c:v>svibanj</c:v>
                </c:pt>
                <c:pt idx="2">
                  <c:v>lipanj</c:v>
                </c:pt>
                <c:pt idx="3">
                  <c:v>srpanj</c:v>
                </c:pt>
                <c:pt idx="4">
                  <c:v>kolovoz</c:v>
                </c:pt>
                <c:pt idx="5">
                  <c:v>rujan</c:v>
                </c:pt>
                <c:pt idx="6">
                  <c:v>listopad</c:v>
                </c:pt>
                <c:pt idx="7">
                  <c:v>studeni</c:v>
                </c:pt>
                <c:pt idx="8">
                  <c:v>prosinac</c:v>
                </c:pt>
              </c:strCache>
            </c:strRef>
          </c:cat>
          <c:val>
            <c:numRef>
              <c:f>'SHEET ZA PREZENTACIJU'!$O$43:$O$51</c:f>
              <c:numCache>
                <c:formatCode>General</c:formatCode>
                <c:ptCount val="9"/>
                <c:pt idx="5">
                  <c:v>11</c:v>
                </c:pt>
                <c:pt idx="6">
                  <c:v>51</c:v>
                </c:pt>
                <c:pt idx="7">
                  <c:v>77</c:v>
                </c:pt>
                <c:pt idx="8">
                  <c:v>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26D-48E5-9C55-8CD950FD262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712184031"/>
        <c:axId val="712184447"/>
        <c:axId val="0"/>
      </c:bar3DChart>
      <c:catAx>
        <c:axId val="71218403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r-Latn-RS"/>
          </a:p>
        </c:txPr>
        <c:crossAx val="712184447"/>
        <c:crosses val="autoZero"/>
        <c:auto val="1"/>
        <c:lblAlgn val="ctr"/>
        <c:lblOffset val="100"/>
        <c:noMultiLvlLbl val="0"/>
      </c:catAx>
      <c:valAx>
        <c:axId val="71218444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r-Latn-RS"/>
          </a:p>
        </c:txPr>
        <c:crossAx val="71218403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sr-Latn-R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sr-Latn-R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sr-Latn-RS"/>
        </a:p>
      </c:txPr>
    </c:title>
    <c:autoTitleDeleted val="0"/>
    <c:plotArea>
      <c:layout>
        <c:manualLayout>
          <c:layoutTarget val="inner"/>
          <c:xMode val="edge"/>
          <c:yMode val="edge"/>
          <c:x val="0.1125"/>
          <c:y val="0.33450418720955383"/>
          <c:w val="0.73888888888888893"/>
          <c:h val="0.66243151308793446"/>
        </c:manualLayout>
      </c:layout>
      <c:doughnutChart>
        <c:varyColors val="1"/>
        <c:ser>
          <c:idx val="0"/>
          <c:order val="0"/>
          <c:tx>
            <c:strRef>
              <c:f>'SHEET ZA PREZENTACIJU'!$AA$7</c:f>
              <c:strCache>
                <c:ptCount val="1"/>
                <c:pt idx="0">
                  <c:v>DRAŽBE</c:v>
                </c:pt>
              </c:strCache>
            </c:strRef>
          </c:tx>
          <c:dPt>
            <c:idx val="0"/>
            <c:bubble3D val="0"/>
            <c:spPr>
              <a:solidFill>
                <a:schemeClr val="accent1">
                  <a:shade val="58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7D2-4CD2-8862-F35C2BE6767C}"/>
              </c:ext>
            </c:extLst>
          </c:dPt>
          <c:dPt>
            <c:idx val="1"/>
            <c:bubble3D val="0"/>
            <c:spPr>
              <a:solidFill>
                <a:schemeClr val="accent1">
                  <a:shade val="86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7D2-4CD2-8862-F35C2BE6767C}"/>
              </c:ext>
            </c:extLst>
          </c:dPt>
          <c:dPt>
            <c:idx val="2"/>
            <c:bubble3D val="0"/>
            <c:spPr>
              <a:solidFill>
                <a:schemeClr val="accent1">
                  <a:tint val="86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87D2-4CD2-8862-F35C2BE6767C}"/>
              </c:ext>
            </c:extLst>
          </c:dPt>
          <c:dPt>
            <c:idx val="3"/>
            <c:bubble3D val="0"/>
            <c:spPr>
              <a:solidFill>
                <a:schemeClr val="accent1">
                  <a:tint val="58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87D2-4CD2-8862-F35C2BE6767C}"/>
              </c:ext>
            </c:extLst>
          </c:dPt>
          <c:dLbls>
            <c:dLbl>
              <c:idx val="0"/>
              <c:layout>
                <c:manualLayout>
                  <c:x val="1.5277996500437445E-2"/>
                  <c:y val="-0.11704607156072211"/>
                </c:manualLayout>
              </c:layout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41345822397200349"/>
                      <c:h val="0.1983060954405722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87D2-4CD2-8862-F35C2BE6767C}"/>
                </c:ext>
              </c:extLst>
            </c:dLbl>
            <c:dLbl>
              <c:idx val="1"/>
              <c:layout>
                <c:manualLayout>
                  <c:x val="8.6111111111111013E-2"/>
                  <c:y val="-9.4633073298276305E-2"/>
                </c:manualLayout>
              </c:layout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24636351706036747"/>
                      <c:h val="0.2628309093657917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87D2-4CD2-8862-F35C2BE6767C}"/>
                </c:ext>
              </c:extLst>
            </c:dLbl>
            <c:dLbl>
              <c:idx val="2"/>
              <c:layout>
                <c:manualLayout>
                  <c:x val="-1.6666447944006998E-2"/>
                  <c:y val="-7.5955591087078403E-2"/>
                </c:manualLayout>
              </c:layout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42754177602799648"/>
                      <c:h val="0.17295439317277081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87D2-4CD2-8862-F35C2BE6767C}"/>
                </c:ext>
              </c:extLst>
            </c:dLbl>
            <c:dLbl>
              <c:idx val="3"/>
              <c:layout>
                <c:manualLayout>
                  <c:x val="-7.0833333333333331E-2"/>
                  <c:y val="-0.12202685767409323"/>
                </c:manualLayout>
              </c:layout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19877777777777778"/>
                      <c:h val="0.1777109502780263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7-87D2-4CD2-8862-F35C2BE6767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sr-Latn-RS"/>
              </a:p>
            </c:txPr>
            <c:showLegendKey val="0"/>
            <c:showVal val="1"/>
            <c:showCatName val="1"/>
            <c:showSerName val="0"/>
            <c:showPercent val="1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'SHEET ZA PREZENTACIJU'!$Z$8:$Z$11</c:f>
              <c:strCache>
                <c:ptCount val="4"/>
                <c:pt idx="0">
                  <c:v>usluge operativnog koordinatora</c:v>
                </c:pt>
                <c:pt idx="1">
                  <c:v>usluge tehničko-financijske kontrole</c:v>
                </c:pt>
                <c:pt idx="2">
                  <c:v>usluge projektiranja</c:v>
                </c:pt>
                <c:pt idx="3">
                  <c:v>izvođenje radova</c:v>
                </c:pt>
              </c:strCache>
            </c:strRef>
          </c:cat>
          <c:val>
            <c:numRef>
              <c:f>'SHEET ZA PREZENTACIJU'!$AA$8:$AA$11</c:f>
              <c:numCache>
                <c:formatCode>General</c:formatCode>
                <c:ptCount val="4"/>
                <c:pt idx="0">
                  <c:v>1</c:v>
                </c:pt>
                <c:pt idx="1">
                  <c:v>10</c:v>
                </c:pt>
                <c:pt idx="2">
                  <c:v>7</c:v>
                </c:pt>
                <c:pt idx="3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87D2-4CD2-8862-F35C2BE6767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sr-Latn-R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colors10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colors7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style1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_rels/data1.xml.rels><?xml version="1.0" encoding="UTF-8" standalone="yes"?>
<Relationships xmlns="http://schemas.openxmlformats.org/package/2006/relationships"><Relationship Id="rId1" Type="http://schemas.openxmlformats.org/officeDocument/2006/relationships/hyperlink" Target="https://fondzaobnovu-my.sharepoint.com/personal/kresimir_dominis_fzo_gov_hr/Documents/Izvje%C5%A1taji%20i%20analize%20-%20Tablice/PREZENTACIJA/1%20-%207%20mjesec/Copy%20of%20FZO%20-%20Izvje%C5%A1taj%20do%2031.07_.xls?web=1" TargetMode="External"/></Relationships>
</file>

<file path=ppt/diagrams/_rels/data2.xml.rels><?xml version="1.0" encoding="UTF-8" standalone="yes"?>
<Relationships xmlns="http://schemas.openxmlformats.org/package/2006/relationships"><Relationship Id="rId1" Type="http://schemas.openxmlformats.org/officeDocument/2006/relationships/hyperlink" Target="https://fondzaobnovu-my.sharepoint.com/personal/kresimir_dominis_fzo_gov_hr/Documents/Izvje%C5%A1taji%20i%20analize%20-%20Tablice/PREZENTACIJA/1%20-%207%20mjesec/Copy%20of%20FZO%20-%20Izvje%C5%A1taj%20do%2031.07_.xls?web=1" TargetMode="Externa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B54A536-F1E8-465F-8A82-A38B363A3464}" type="doc">
      <dgm:prSet loTypeId="urn:microsoft.com/office/officeart/2005/8/layout/hProcess11" loCatId="process" qsTypeId="urn:microsoft.com/office/officeart/2005/8/quickstyle/simple4" qsCatId="simple" csTypeId="urn:microsoft.com/office/officeart/2005/8/colors/accent1_2" csCatId="accent1" phldr="1"/>
      <dgm:spPr/>
    </dgm:pt>
    <dgm:pt modelId="{0F009969-E090-4F7E-B66B-19BDD2DC8DA9}">
      <dgm:prSet phldrT="[Text]" custT="1"/>
      <dgm:spPr/>
      <dgm:t>
        <a:bodyPr/>
        <a:lstStyle/>
        <a:p>
          <a:r>
            <a:rPr lang="hr-HR" sz="1400" b="0" dirty="0"/>
            <a:t>listopad 2021. godine</a:t>
          </a:r>
        </a:p>
        <a:p>
          <a:r>
            <a:rPr lang="hr-HR" sz="1400" b="1" dirty="0"/>
            <a:t>Javni poziv za iskaz interesa</a:t>
          </a:r>
        </a:p>
      </dgm:t>
    </dgm:pt>
    <dgm:pt modelId="{6492856A-18A4-4D8B-8C75-4D859F7A783E}" type="parTrans" cxnId="{48D896C1-FD91-42BE-8C3B-C89C803F353D}">
      <dgm:prSet/>
      <dgm:spPr/>
      <dgm:t>
        <a:bodyPr/>
        <a:lstStyle/>
        <a:p>
          <a:endParaRPr lang="hr-HR" sz="2000" b="1"/>
        </a:p>
      </dgm:t>
    </dgm:pt>
    <dgm:pt modelId="{F0806B0D-BBF7-4786-AB51-25E62B532340}" type="sibTrans" cxnId="{48D896C1-FD91-42BE-8C3B-C89C803F353D}">
      <dgm:prSet/>
      <dgm:spPr/>
      <dgm:t>
        <a:bodyPr/>
        <a:lstStyle/>
        <a:p>
          <a:endParaRPr lang="hr-HR" sz="2000" b="1"/>
        </a:p>
      </dgm:t>
    </dgm:pt>
    <dgm:pt modelId="{AD098368-BD0E-4DF4-BDDE-1143B3B73CB2}">
      <dgm:prSet phldrT="[Text]" custT="1"/>
      <dgm:spPr/>
      <dgm:t>
        <a:bodyPr/>
        <a:lstStyle/>
        <a:p>
          <a:r>
            <a:rPr lang="hr-HR" sz="1400" b="0" dirty="0"/>
            <a:t>listopad 2021. godine</a:t>
          </a:r>
        </a:p>
        <a:p>
          <a:r>
            <a:rPr lang="hr-HR" sz="1400" b="1" dirty="0"/>
            <a:t>Donošenje </a:t>
          </a:r>
          <a:r>
            <a:rPr lang="pl-PL" sz="1400" b="1" dirty="0"/>
            <a:t>Zakona o izmjenama i dopunama Zakona o obnovi</a:t>
          </a:r>
          <a:endParaRPr lang="hr-HR" sz="1400" b="1" dirty="0"/>
        </a:p>
      </dgm:t>
    </dgm:pt>
    <dgm:pt modelId="{46104A38-EC20-4AA1-98BE-5778283DD247}" type="parTrans" cxnId="{43C98A63-7333-4892-B6D9-7CF1F36BC5F6}">
      <dgm:prSet/>
      <dgm:spPr/>
      <dgm:t>
        <a:bodyPr/>
        <a:lstStyle/>
        <a:p>
          <a:endParaRPr lang="hr-HR" sz="2000" b="1"/>
        </a:p>
      </dgm:t>
    </dgm:pt>
    <dgm:pt modelId="{E14DB074-F631-4D27-A979-0904CCD02F81}" type="sibTrans" cxnId="{43C98A63-7333-4892-B6D9-7CF1F36BC5F6}">
      <dgm:prSet/>
      <dgm:spPr/>
      <dgm:t>
        <a:bodyPr/>
        <a:lstStyle/>
        <a:p>
          <a:endParaRPr lang="hr-HR" sz="2000" b="1"/>
        </a:p>
      </dgm:t>
    </dgm:pt>
    <dgm:pt modelId="{9E826A02-8888-4AC7-BC76-1CE7E505F500}">
      <dgm:prSet phldrT="[Text]" custT="1"/>
      <dgm:spPr/>
      <dgm:t>
        <a:bodyPr/>
        <a:lstStyle/>
        <a:p>
          <a:r>
            <a:rPr lang="hr-HR" sz="1400" b="0" dirty="0"/>
            <a:t>studeni 2021. godine</a:t>
          </a:r>
        </a:p>
        <a:p>
          <a:r>
            <a:rPr lang="hr-HR" sz="1400" b="1" dirty="0"/>
            <a:t>Objava natječaja za projektiranje i operativnu koordinaciju</a:t>
          </a:r>
        </a:p>
      </dgm:t>
    </dgm:pt>
    <dgm:pt modelId="{780256B0-8AE5-4F8B-83A4-822E25B187D7}" type="parTrans" cxnId="{7616955D-C5A4-41ED-A8CF-434413902494}">
      <dgm:prSet/>
      <dgm:spPr/>
      <dgm:t>
        <a:bodyPr/>
        <a:lstStyle/>
        <a:p>
          <a:endParaRPr lang="hr-HR" sz="2000" b="1"/>
        </a:p>
      </dgm:t>
    </dgm:pt>
    <dgm:pt modelId="{5A4CEA1A-DAF0-459E-A091-6606116A4252}" type="sibTrans" cxnId="{7616955D-C5A4-41ED-A8CF-434413902494}">
      <dgm:prSet/>
      <dgm:spPr/>
      <dgm:t>
        <a:bodyPr/>
        <a:lstStyle/>
        <a:p>
          <a:endParaRPr lang="hr-HR" sz="2000" b="1"/>
        </a:p>
      </dgm:t>
    </dgm:pt>
    <dgm:pt modelId="{A0F16E00-C66B-4663-92E3-CC0D3BBDE057}">
      <dgm:prSet phldrT="[Text]" custT="1"/>
      <dgm:spPr/>
      <dgm:t>
        <a:bodyPr/>
        <a:lstStyle/>
        <a:p>
          <a:r>
            <a:rPr lang="hr-HR" sz="1400" b="0" dirty="0"/>
            <a:t>studeni 2021. godine</a:t>
          </a:r>
        </a:p>
        <a:p>
          <a:r>
            <a:rPr lang="hr-HR" sz="1400" b="1" dirty="0"/>
            <a:t>Javni poziv za predaju zahtjeva</a:t>
          </a:r>
        </a:p>
      </dgm:t>
    </dgm:pt>
    <dgm:pt modelId="{48CFD637-8795-4E9A-86BA-71E1612B6A00}" type="parTrans" cxnId="{31BB98BB-B3BE-4A07-A49A-EB5C04025AB3}">
      <dgm:prSet/>
      <dgm:spPr/>
      <dgm:t>
        <a:bodyPr/>
        <a:lstStyle/>
        <a:p>
          <a:endParaRPr lang="hr-HR" sz="2000" b="1"/>
        </a:p>
      </dgm:t>
    </dgm:pt>
    <dgm:pt modelId="{1B5A0A22-6C23-47D1-8973-9F06571576B0}" type="sibTrans" cxnId="{31BB98BB-B3BE-4A07-A49A-EB5C04025AB3}">
      <dgm:prSet/>
      <dgm:spPr/>
      <dgm:t>
        <a:bodyPr/>
        <a:lstStyle/>
        <a:p>
          <a:endParaRPr lang="hr-HR" sz="2000" b="1"/>
        </a:p>
      </dgm:t>
    </dgm:pt>
    <dgm:pt modelId="{B546970C-8A60-4276-9E86-C467797AEFCF}">
      <dgm:prSet phldrT="[Text]" custT="1"/>
      <dgm:spPr/>
      <dgm:t>
        <a:bodyPr/>
        <a:lstStyle/>
        <a:p>
          <a:pPr algn="ctr"/>
          <a:r>
            <a:rPr lang="hr-HR" sz="1400" b="0" dirty="0"/>
            <a:t>siječanj 2022. godine</a:t>
          </a:r>
        </a:p>
        <a:p>
          <a:pPr algn="ctr"/>
          <a:r>
            <a:rPr lang="hr-HR" sz="1400" b="1" dirty="0"/>
            <a:t>Početak projektiranja</a:t>
          </a:r>
        </a:p>
      </dgm:t>
    </dgm:pt>
    <dgm:pt modelId="{084B7027-B2BD-4C28-9725-639A0365FA9C}" type="parTrans" cxnId="{7025FD2A-133D-479D-B332-CAFE4CED5D06}">
      <dgm:prSet/>
      <dgm:spPr/>
      <dgm:t>
        <a:bodyPr/>
        <a:lstStyle/>
        <a:p>
          <a:endParaRPr lang="hr-HR" sz="2000" b="1"/>
        </a:p>
      </dgm:t>
    </dgm:pt>
    <dgm:pt modelId="{B5CF149F-18DE-4F2B-884C-B21A6246F07A}" type="sibTrans" cxnId="{7025FD2A-133D-479D-B332-CAFE4CED5D06}">
      <dgm:prSet/>
      <dgm:spPr/>
      <dgm:t>
        <a:bodyPr/>
        <a:lstStyle/>
        <a:p>
          <a:endParaRPr lang="hr-HR" sz="2000" b="1"/>
        </a:p>
      </dgm:t>
    </dgm:pt>
    <dgm:pt modelId="{CBD68416-DF61-4BE2-8048-9F6D195F3D5E}" type="pres">
      <dgm:prSet presAssocID="{6B54A536-F1E8-465F-8A82-A38B363A3464}" presName="Name0" presStyleCnt="0">
        <dgm:presLayoutVars>
          <dgm:dir/>
          <dgm:resizeHandles val="exact"/>
        </dgm:presLayoutVars>
      </dgm:prSet>
      <dgm:spPr/>
    </dgm:pt>
    <dgm:pt modelId="{8037542F-81BB-4D39-944C-A98010E423D2}" type="pres">
      <dgm:prSet presAssocID="{6B54A536-F1E8-465F-8A82-A38B363A3464}" presName="arrow" presStyleLbl="bgShp" presStyleIdx="0" presStyleCnt="1"/>
      <dgm:spPr/>
      <dgm:extLst>
        <a:ext uri="{E40237B7-FDA0-4F09-8148-C483321AD2D9}">
          <dgm14:cNvPr xmlns:dgm14="http://schemas.microsoft.com/office/drawing/2010/diagram" id="0" name="">
            <a:hlinkClick xmlns:r="http://schemas.openxmlformats.org/officeDocument/2006/relationships" r:id="rId1"/>
          </dgm14:cNvPr>
        </a:ext>
      </dgm:extLst>
    </dgm:pt>
    <dgm:pt modelId="{4D7D9458-4A43-443C-AEE9-A07B6D24D195}" type="pres">
      <dgm:prSet presAssocID="{6B54A536-F1E8-465F-8A82-A38B363A3464}" presName="points" presStyleCnt="0"/>
      <dgm:spPr/>
    </dgm:pt>
    <dgm:pt modelId="{46D3E51C-2E09-47FC-A8BD-59CD6F31B780}" type="pres">
      <dgm:prSet presAssocID="{0F009969-E090-4F7E-B66B-19BDD2DC8DA9}" presName="compositeA" presStyleCnt="0"/>
      <dgm:spPr/>
    </dgm:pt>
    <dgm:pt modelId="{638D5BBB-08AC-4000-96D5-9344BA370B54}" type="pres">
      <dgm:prSet presAssocID="{0F009969-E090-4F7E-B66B-19BDD2DC8DA9}" presName="textA" presStyleLbl="revTx" presStyleIdx="0" presStyleCnt="5" custScaleX="377900">
        <dgm:presLayoutVars>
          <dgm:bulletEnabled val="1"/>
        </dgm:presLayoutVars>
      </dgm:prSet>
      <dgm:spPr/>
    </dgm:pt>
    <dgm:pt modelId="{BE88EFC7-6729-4CE9-AA9E-36BC9CA57A2A}" type="pres">
      <dgm:prSet presAssocID="{0F009969-E090-4F7E-B66B-19BDD2DC8DA9}" presName="circleA" presStyleLbl="node1" presStyleIdx="0" presStyleCnt="5"/>
      <dgm:spPr/>
    </dgm:pt>
    <dgm:pt modelId="{14E1F4D6-652E-4901-A4F3-12B4E8B6B10A}" type="pres">
      <dgm:prSet presAssocID="{0F009969-E090-4F7E-B66B-19BDD2DC8DA9}" presName="spaceA" presStyleCnt="0"/>
      <dgm:spPr/>
    </dgm:pt>
    <dgm:pt modelId="{2C9C81B4-CF17-4AF4-AB12-575CE636A996}" type="pres">
      <dgm:prSet presAssocID="{F0806B0D-BBF7-4786-AB51-25E62B532340}" presName="space" presStyleCnt="0"/>
      <dgm:spPr/>
    </dgm:pt>
    <dgm:pt modelId="{1492E739-4D31-4D1C-B748-E89EEB38F689}" type="pres">
      <dgm:prSet presAssocID="{AD098368-BD0E-4DF4-BDDE-1143B3B73CB2}" presName="compositeB" presStyleCnt="0"/>
      <dgm:spPr/>
    </dgm:pt>
    <dgm:pt modelId="{0A6465A2-9079-4ABE-9874-6EB6FFE7CACB}" type="pres">
      <dgm:prSet presAssocID="{AD098368-BD0E-4DF4-BDDE-1143B3B73CB2}" presName="textB" presStyleLbl="revTx" presStyleIdx="1" presStyleCnt="5" custScaleX="331637">
        <dgm:presLayoutVars>
          <dgm:bulletEnabled val="1"/>
        </dgm:presLayoutVars>
      </dgm:prSet>
      <dgm:spPr/>
    </dgm:pt>
    <dgm:pt modelId="{47ADA2E3-C5A1-453F-9929-E5DB0FB163EC}" type="pres">
      <dgm:prSet presAssocID="{AD098368-BD0E-4DF4-BDDE-1143B3B73CB2}" presName="circleB" presStyleLbl="node1" presStyleIdx="1" presStyleCnt="5"/>
      <dgm:spPr/>
    </dgm:pt>
    <dgm:pt modelId="{9DD4BB48-C1C0-4156-8B1F-EA9D3CD0E5D2}" type="pres">
      <dgm:prSet presAssocID="{AD098368-BD0E-4DF4-BDDE-1143B3B73CB2}" presName="spaceB" presStyleCnt="0"/>
      <dgm:spPr/>
    </dgm:pt>
    <dgm:pt modelId="{0704C1D7-3747-499D-86F1-0DBEE8390456}" type="pres">
      <dgm:prSet presAssocID="{E14DB074-F631-4D27-A979-0904CCD02F81}" presName="space" presStyleCnt="0"/>
      <dgm:spPr/>
    </dgm:pt>
    <dgm:pt modelId="{500FBA7A-86BD-4813-8352-ADD9EADC40F1}" type="pres">
      <dgm:prSet presAssocID="{A0F16E00-C66B-4663-92E3-CC0D3BBDE057}" presName="compositeA" presStyleCnt="0"/>
      <dgm:spPr/>
    </dgm:pt>
    <dgm:pt modelId="{D0B5CE25-BCA3-4EA4-849F-CD7E63EDBB92}" type="pres">
      <dgm:prSet presAssocID="{A0F16E00-C66B-4663-92E3-CC0D3BBDE057}" presName="textA" presStyleLbl="revTx" presStyleIdx="2" presStyleCnt="5" custScaleX="289462">
        <dgm:presLayoutVars>
          <dgm:bulletEnabled val="1"/>
        </dgm:presLayoutVars>
      </dgm:prSet>
      <dgm:spPr/>
    </dgm:pt>
    <dgm:pt modelId="{7C9A5299-CC5F-4D14-B5CE-9E135E7C8C66}" type="pres">
      <dgm:prSet presAssocID="{A0F16E00-C66B-4663-92E3-CC0D3BBDE057}" presName="circleA" presStyleLbl="node1" presStyleIdx="2" presStyleCnt="5"/>
      <dgm:spPr/>
    </dgm:pt>
    <dgm:pt modelId="{A8E5DC55-A6DF-450B-A7DF-5C2CD6F0C8DE}" type="pres">
      <dgm:prSet presAssocID="{A0F16E00-C66B-4663-92E3-CC0D3BBDE057}" presName="spaceA" presStyleCnt="0"/>
      <dgm:spPr/>
    </dgm:pt>
    <dgm:pt modelId="{27EE97E9-E397-4CEC-AC1B-C63C9A5F7623}" type="pres">
      <dgm:prSet presAssocID="{1B5A0A22-6C23-47D1-8973-9F06571576B0}" presName="space" presStyleCnt="0"/>
      <dgm:spPr/>
    </dgm:pt>
    <dgm:pt modelId="{94A6830B-38E6-4439-B74A-26301AAFF909}" type="pres">
      <dgm:prSet presAssocID="{9E826A02-8888-4AC7-BC76-1CE7E505F500}" presName="compositeB" presStyleCnt="0"/>
      <dgm:spPr/>
    </dgm:pt>
    <dgm:pt modelId="{6BD0123F-A350-4E4A-B53D-D0A8276FDAED}" type="pres">
      <dgm:prSet presAssocID="{9E826A02-8888-4AC7-BC76-1CE7E505F500}" presName="textB" presStyleLbl="revTx" presStyleIdx="3" presStyleCnt="5" custScaleX="348755">
        <dgm:presLayoutVars>
          <dgm:bulletEnabled val="1"/>
        </dgm:presLayoutVars>
      </dgm:prSet>
      <dgm:spPr/>
    </dgm:pt>
    <dgm:pt modelId="{5073EAD1-E84A-416A-992E-0154D6972046}" type="pres">
      <dgm:prSet presAssocID="{9E826A02-8888-4AC7-BC76-1CE7E505F500}" presName="circleB" presStyleLbl="node1" presStyleIdx="3" presStyleCnt="5"/>
      <dgm:spPr/>
    </dgm:pt>
    <dgm:pt modelId="{D8F0608A-8B69-4131-AAF9-CB9DCC038A06}" type="pres">
      <dgm:prSet presAssocID="{9E826A02-8888-4AC7-BC76-1CE7E505F500}" presName="spaceB" presStyleCnt="0"/>
      <dgm:spPr/>
    </dgm:pt>
    <dgm:pt modelId="{FCF44EE7-E089-4E5B-ADD3-8631482CD6B1}" type="pres">
      <dgm:prSet presAssocID="{5A4CEA1A-DAF0-459E-A091-6606116A4252}" presName="space" presStyleCnt="0"/>
      <dgm:spPr/>
    </dgm:pt>
    <dgm:pt modelId="{3A53243E-538C-4D91-83A0-F374FF78ABFF}" type="pres">
      <dgm:prSet presAssocID="{B546970C-8A60-4276-9E86-C467797AEFCF}" presName="compositeA" presStyleCnt="0"/>
      <dgm:spPr/>
    </dgm:pt>
    <dgm:pt modelId="{682C3C7D-3743-40E9-A634-76947B5484C4}" type="pres">
      <dgm:prSet presAssocID="{B546970C-8A60-4276-9E86-C467797AEFCF}" presName="textA" presStyleLbl="revTx" presStyleIdx="4" presStyleCnt="5" custScaleX="289462">
        <dgm:presLayoutVars>
          <dgm:bulletEnabled val="1"/>
        </dgm:presLayoutVars>
      </dgm:prSet>
      <dgm:spPr/>
    </dgm:pt>
    <dgm:pt modelId="{71554D18-38F8-41E4-A09D-08920F9A709F}" type="pres">
      <dgm:prSet presAssocID="{B546970C-8A60-4276-9E86-C467797AEFCF}" presName="circleA" presStyleLbl="node1" presStyleIdx="4" presStyleCnt="5"/>
      <dgm:spPr/>
    </dgm:pt>
    <dgm:pt modelId="{D8319B5B-BFA7-4EB6-B334-25E61BCA7B96}" type="pres">
      <dgm:prSet presAssocID="{B546970C-8A60-4276-9E86-C467797AEFCF}" presName="spaceA" presStyleCnt="0"/>
      <dgm:spPr/>
    </dgm:pt>
  </dgm:ptLst>
  <dgm:cxnLst>
    <dgm:cxn modelId="{7025FD2A-133D-479D-B332-CAFE4CED5D06}" srcId="{6B54A536-F1E8-465F-8A82-A38B363A3464}" destId="{B546970C-8A60-4276-9E86-C467797AEFCF}" srcOrd="4" destOrd="0" parTransId="{084B7027-B2BD-4C28-9725-639A0365FA9C}" sibTransId="{B5CF149F-18DE-4F2B-884C-B21A6246F07A}"/>
    <dgm:cxn modelId="{7616955D-C5A4-41ED-A8CF-434413902494}" srcId="{6B54A536-F1E8-465F-8A82-A38B363A3464}" destId="{9E826A02-8888-4AC7-BC76-1CE7E505F500}" srcOrd="3" destOrd="0" parTransId="{780256B0-8AE5-4F8B-83A4-822E25B187D7}" sibTransId="{5A4CEA1A-DAF0-459E-A091-6606116A4252}"/>
    <dgm:cxn modelId="{43C98A63-7333-4892-B6D9-7CF1F36BC5F6}" srcId="{6B54A536-F1E8-465F-8A82-A38B363A3464}" destId="{AD098368-BD0E-4DF4-BDDE-1143B3B73CB2}" srcOrd="1" destOrd="0" parTransId="{46104A38-EC20-4AA1-98BE-5778283DD247}" sibTransId="{E14DB074-F631-4D27-A979-0904CCD02F81}"/>
    <dgm:cxn modelId="{AA407F69-D846-4283-A44B-08328730DF90}" type="presOf" srcId="{0F009969-E090-4F7E-B66B-19BDD2DC8DA9}" destId="{638D5BBB-08AC-4000-96D5-9344BA370B54}" srcOrd="0" destOrd="0" presId="urn:microsoft.com/office/officeart/2005/8/layout/hProcess11"/>
    <dgm:cxn modelId="{F8C98E4A-0D23-4C52-8E35-7E0A06F1B20E}" type="presOf" srcId="{AD098368-BD0E-4DF4-BDDE-1143B3B73CB2}" destId="{0A6465A2-9079-4ABE-9874-6EB6FFE7CACB}" srcOrd="0" destOrd="0" presId="urn:microsoft.com/office/officeart/2005/8/layout/hProcess11"/>
    <dgm:cxn modelId="{3D66398F-160D-4628-A651-A6D4F3264AAC}" type="presOf" srcId="{B546970C-8A60-4276-9E86-C467797AEFCF}" destId="{682C3C7D-3743-40E9-A634-76947B5484C4}" srcOrd="0" destOrd="0" presId="urn:microsoft.com/office/officeart/2005/8/layout/hProcess11"/>
    <dgm:cxn modelId="{6832C2A8-07E0-4995-927E-860656C8B5B4}" type="presOf" srcId="{9E826A02-8888-4AC7-BC76-1CE7E505F500}" destId="{6BD0123F-A350-4E4A-B53D-D0A8276FDAED}" srcOrd="0" destOrd="0" presId="urn:microsoft.com/office/officeart/2005/8/layout/hProcess11"/>
    <dgm:cxn modelId="{780739A9-D462-4EB3-98CD-C1A2D047A060}" type="presOf" srcId="{6B54A536-F1E8-465F-8A82-A38B363A3464}" destId="{CBD68416-DF61-4BE2-8048-9F6D195F3D5E}" srcOrd="0" destOrd="0" presId="urn:microsoft.com/office/officeart/2005/8/layout/hProcess11"/>
    <dgm:cxn modelId="{31BB98BB-B3BE-4A07-A49A-EB5C04025AB3}" srcId="{6B54A536-F1E8-465F-8A82-A38B363A3464}" destId="{A0F16E00-C66B-4663-92E3-CC0D3BBDE057}" srcOrd="2" destOrd="0" parTransId="{48CFD637-8795-4E9A-86BA-71E1612B6A00}" sibTransId="{1B5A0A22-6C23-47D1-8973-9F06571576B0}"/>
    <dgm:cxn modelId="{48D896C1-FD91-42BE-8C3B-C89C803F353D}" srcId="{6B54A536-F1E8-465F-8A82-A38B363A3464}" destId="{0F009969-E090-4F7E-B66B-19BDD2DC8DA9}" srcOrd="0" destOrd="0" parTransId="{6492856A-18A4-4D8B-8C75-4D859F7A783E}" sibTransId="{F0806B0D-BBF7-4786-AB51-25E62B532340}"/>
    <dgm:cxn modelId="{BDB1CFDC-B62C-4DCA-B541-380E991734C0}" type="presOf" srcId="{A0F16E00-C66B-4663-92E3-CC0D3BBDE057}" destId="{D0B5CE25-BCA3-4EA4-849F-CD7E63EDBB92}" srcOrd="0" destOrd="0" presId="urn:microsoft.com/office/officeart/2005/8/layout/hProcess11"/>
    <dgm:cxn modelId="{2EDE8693-D015-4D78-B8BB-FF00AC06B2A2}" type="presParOf" srcId="{CBD68416-DF61-4BE2-8048-9F6D195F3D5E}" destId="{8037542F-81BB-4D39-944C-A98010E423D2}" srcOrd="0" destOrd="0" presId="urn:microsoft.com/office/officeart/2005/8/layout/hProcess11"/>
    <dgm:cxn modelId="{01D063C4-B862-4B51-8C75-834CCFEE3C67}" type="presParOf" srcId="{CBD68416-DF61-4BE2-8048-9F6D195F3D5E}" destId="{4D7D9458-4A43-443C-AEE9-A07B6D24D195}" srcOrd="1" destOrd="0" presId="urn:microsoft.com/office/officeart/2005/8/layout/hProcess11"/>
    <dgm:cxn modelId="{18A91A76-86B0-4DB0-BDB6-C5DA8D4784BD}" type="presParOf" srcId="{4D7D9458-4A43-443C-AEE9-A07B6D24D195}" destId="{46D3E51C-2E09-47FC-A8BD-59CD6F31B780}" srcOrd="0" destOrd="0" presId="urn:microsoft.com/office/officeart/2005/8/layout/hProcess11"/>
    <dgm:cxn modelId="{0FC95F5C-E564-4C05-962F-631074806FE5}" type="presParOf" srcId="{46D3E51C-2E09-47FC-A8BD-59CD6F31B780}" destId="{638D5BBB-08AC-4000-96D5-9344BA370B54}" srcOrd="0" destOrd="0" presId="urn:microsoft.com/office/officeart/2005/8/layout/hProcess11"/>
    <dgm:cxn modelId="{063C5B25-7F52-4D2F-B93D-DE9CF48B83D9}" type="presParOf" srcId="{46D3E51C-2E09-47FC-A8BD-59CD6F31B780}" destId="{BE88EFC7-6729-4CE9-AA9E-36BC9CA57A2A}" srcOrd="1" destOrd="0" presId="urn:microsoft.com/office/officeart/2005/8/layout/hProcess11"/>
    <dgm:cxn modelId="{D4F6FB3D-8687-4FEE-8753-15DDA4AC11A0}" type="presParOf" srcId="{46D3E51C-2E09-47FC-A8BD-59CD6F31B780}" destId="{14E1F4D6-652E-4901-A4F3-12B4E8B6B10A}" srcOrd="2" destOrd="0" presId="urn:microsoft.com/office/officeart/2005/8/layout/hProcess11"/>
    <dgm:cxn modelId="{55625901-0C10-47B1-8A39-DF48CA4BA68D}" type="presParOf" srcId="{4D7D9458-4A43-443C-AEE9-A07B6D24D195}" destId="{2C9C81B4-CF17-4AF4-AB12-575CE636A996}" srcOrd="1" destOrd="0" presId="urn:microsoft.com/office/officeart/2005/8/layout/hProcess11"/>
    <dgm:cxn modelId="{BC28ABC9-3628-42C9-8972-930D34F2EE07}" type="presParOf" srcId="{4D7D9458-4A43-443C-AEE9-A07B6D24D195}" destId="{1492E739-4D31-4D1C-B748-E89EEB38F689}" srcOrd="2" destOrd="0" presId="urn:microsoft.com/office/officeart/2005/8/layout/hProcess11"/>
    <dgm:cxn modelId="{A61099A8-3107-4D47-830B-8B95694DBC88}" type="presParOf" srcId="{1492E739-4D31-4D1C-B748-E89EEB38F689}" destId="{0A6465A2-9079-4ABE-9874-6EB6FFE7CACB}" srcOrd="0" destOrd="0" presId="urn:microsoft.com/office/officeart/2005/8/layout/hProcess11"/>
    <dgm:cxn modelId="{21EB0516-72CA-4E95-94C7-5D3F573C1E74}" type="presParOf" srcId="{1492E739-4D31-4D1C-B748-E89EEB38F689}" destId="{47ADA2E3-C5A1-453F-9929-E5DB0FB163EC}" srcOrd="1" destOrd="0" presId="urn:microsoft.com/office/officeart/2005/8/layout/hProcess11"/>
    <dgm:cxn modelId="{DCA2E1C7-32AF-46D9-B2B9-C3947CCBA181}" type="presParOf" srcId="{1492E739-4D31-4D1C-B748-E89EEB38F689}" destId="{9DD4BB48-C1C0-4156-8B1F-EA9D3CD0E5D2}" srcOrd="2" destOrd="0" presId="urn:microsoft.com/office/officeart/2005/8/layout/hProcess11"/>
    <dgm:cxn modelId="{30FD33AB-6269-476D-9D67-9B8927204030}" type="presParOf" srcId="{4D7D9458-4A43-443C-AEE9-A07B6D24D195}" destId="{0704C1D7-3747-499D-86F1-0DBEE8390456}" srcOrd="3" destOrd="0" presId="urn:microsoft.com/office/officeart/2005/8/layout/hProcess11"/>
    <dgm:cxn modelId="{BFAD30D4-49EF-450F-8A46-5DABA149A1A8}" type="presParOf" srcId="{4D7D9458-4A43-443C-AEE9-A07B6D24D195}" destId="{500FBA7A-86BD-4813-8352-ADD9EADC40F1}" srcOrd="4" destOrd="0" presId="urn:microsoft.com/office/officeart/2005/8/layout/hProcess11"/>
    <dgm:cxn modelId="{974CEE10-B9BE-4332-B417-9235C99C8132}" type="presParOf" srcId="{500FBA7A-86BD-4813-8352-ADD9EADC40F1}" destId="{D0B5CE25-BCA3-4EA4-849F-CD7E63EDBB92}" srcOrd="0" destOrd="0" presId="urn:microsoft.com/office/officeart/2005/8/layout/hProcess11"/>
    <dgm:cxn modelId="{1098F6EF-C794-4DFA-B91A-E15707786FCE}" type="presParOf" srcId="{500FBA7A-86BD-4813-8352-ADD9EADC40F1}" destId="{7C9A5299-CC5F-4D14-B5CE-9E135E7C8C66}" srcOrd="1" destOrd="0" presId="urn:microsoft.com/office/officeart/2005/8/layout/hProcess11"/>
    <dgm:cxn modelId="{9EA760B1-94D6-4725-8200-494BAF157512}" type="presParOf" srcId="{500FBA7A-86BD-4813-8352-ADD9EADC40F1}" destId="{A8E5DC55-A6DF-450B-A7DF-5C2CD6F0C8DE}" srcOrd="2" destOrd="0" presId="urn:microsoft.com/office/officeart/2005/8/layout/hProcess11"/>
    <dgm:cxn modelId="{08854568-B399-44DD-89F6-90723D80297C}" type="presParOf" srcId="{4D7D9458-4A43-443C-AEE9-A07B6D24D195}" destId="{27EE97E9-E397-4CEC-AC1B-C63C9A5F7623}" srcOrd="5" destOrd="0" presId="urn:microsoft.com/office/officeart/2005/8/layout/hProcess11"/>
    <dgm:cxn modelId="{B14FE4AC-7BED-404D-873C-DB38EE9F27C7}" type="presParOf" srcId="{4D7D9458-4A43-443C-AEE9-A07B6D24D195}" destId="{94A6830B-38E6-4439-B74A-26301AAFF909}" srcOrd="6" destOrd="0" presId="urn:microsoft.com/office/officeart/2005/8/layout/hProcess11"/>
    <dgm:cxn modelId="{FB9870E0-60C6-4588-8ADD-455767AE1932}" type="presParOf" srcId="{94A6830B-38E6-4439-B74A-26301AAFF909}" destId="{6BD0123F-A350-4E4A-B53D-D0A8276FDAED}" srcOrd="0" destOrd="0" presId="urn:microsoft.com/office/officeart/2005/8/layout/hProcess11"/>
    <dgm:cxn modelId="{435D4978-6BE0-45AA-8312-F168A8D74197}" type="presParOf" srcId="{94A6830B-38E6-4439-B74A-26301AAFF909}" destId="{5073EAD1-E84A-416A-992E-0154D6972046}" srcOrd="1" destOrd="0" presId="urn:microsoft.com/office/officeart/2005/8/layout/hProcess11"/>
    <dgm:cxn modelId="{3F3F9FF4-9AC2-4FE0-AAE6-CC39B6475DA9}" type="presParOf" srcId="{94A6830B-38E6-4439-B74A-26301AAFF909}" destId="{D8F0608A-8B69-4131-AAF9-CB9DCC038A06}" srcOrd="2" destOrd="0" presId="urn:microsoft.com/office/officeart/2005/8/layout/hProcess11"/>
    <dgm:cxn modelId="{B251717D-CB0C-4055-A210-EA48DE47E477}" type="presParOf" srcId="{4D7D9458-4A43-443C-AEE9-A07B6D24D195}" destId="{FCF44EE7-E089-4E5B-ADD3-8631482CD6B1}" srcOrd="7" destOrd="0" presId="urn:microsoft.com/office/officeart/2005/8/layout/hProcess11"/>
    <dgm:cxn modelId="{DECD1E34-BAD6-4AB6-9098-19B9D76CA5A0}" type="presParOf" srcId="{4D7D9458-4A43-443C-AEE9-A07B6D24D195}" destId="{3A53243E-538C-4D91-83A0-F374FF78ABFF}" srcOrd="8" destOrd="0" presId="urn:microsoft.com/office/officeart/2005/8/layout/hProcess11"/>
    <dgm:cxn modelId="{1E9D666C-AAD7-459B-A34E-AA75AD77F08C}" type="presParOf" srcId="{3A53243E-538C-4D91-83A0-F374FF78ABFF}" destId="{682C3C7D-3743-40E9-A634-76947B5484C4}" srcOrd="0" destOrd="0" presId="urn:microsoft.com/office/officeart/2005/8/layout/hProcess11"/>
    <dgm:cxn modelId="{8D9B1606-3FCD-4026-826A-A24D75BC154B}" type="presParOf" srcId="{3A53243E-538C-4D91-83A0-F374FF78ABFF}" destId="{71554D18-38F8-41E4-A09D-08920F9A709F}" srcOrd="1" destOrd="0" presId="urn:microsoft.com/office/officeart/2005/8/layout/hProcess11"/>
    <dgm:cxn modelId="{9DB52A9A-C56E-42ED-BF36-CC45028B3324}" type="presParOf" srcId="{3A53243E-538C-4D91-83A0-F374FF78ABFF}" destId="{D8319B5B-BFA7-4EB6-B334-25E61BCA7B96}" srcOrd="2" destOrd="0" presId="urn:microsoft.com/office/officeart/2005/8/layout/hProcess1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B54A536-F1E8-465F-8A82-A38B363A3464}" type="doc">
      <dgm:prSet loTypeId="urn:microsoft.com/office/officeart/2005/8/layout/hProcess11" loCatId="process" qsTypeId="urn:microsoft.com/office/officeart/2005/8/quickstyle/simple4" qsCatId="simple" csTypeId="urn:microsoft.com/office/officeart/2005/8/colors/accent1_2" csCatId="accent1" phldr="1"/>
      <dgm:spPr/>
    </dgm:pt>
    <dgm:pt modelId="{0F009969-E090-4F7E-B66B-19BDD2DC8DA9}">
      <dgm:prSet phldrT="[Text]" custT="1"/>
      <dgm:spPr/>
      <dgm:t>
        <a:bodyPr/>
        <a:lstStyle/>
        <a:p>
          <a:r>
            <a:rPr lang="hr-HR" sz="1200" b="1" dirty="0"/>
            <a:t>8. travnja 2021. godine</a:t>
          </a:r>
        </a:p>
        <a:p>
          <a:r>
            <a:rPr lang="hr-HR" sz="1200" dirty="0"/>
            <a:t>Donošenje Odluke o uvođenju ISO 37001 Sustav upravljanja za suzbijanje podmićivanja</a:t>
          </a:r>
        </a:p>
      </dgm:t>
    </dgm:pt>
    <dgm:pt modelId="{6492856A-18A4-4D8B-8C75-4D859F7A783E}" type="parTrans" cxnId="{48D896C1-FD91-42BE-8C3B-C89C803F353D}">
      <dgm:prSet/>
      <dgm:spPr/>
      <dgm:t>
        <a:bodyPr/>
        <a:lstStyle/>
        <a:p>
          <a:endParaRPr lang="hr-HR"/>
        </a:p>
      </dgm:t>
    </dgm:pt>
    <dgm:pt modelId="{F0806B0D-BBF7-4786-AB51-25E62B532340}" type="sibTrans" cxnId="{48D896C1-FD91-42BE-8C3B-C89C803F353D}">
      <dgm:prSet/>
      <dgm:spPr/>
      <dgm:t>
        <a:bodyPr/>
        <a:lstStyle/>
        <a:p>
          <a:endParaRPr lang="hr-HR"/>
        </a:p>
      </dgm:t>
    </dgm:pt>
    <dgm:pt modelId="{AD098368-BD0E-4DF4-BDDE-1143B3B73CB2}">
      <dgm:prSet phldrT="[Text]" custT="1"/>
      <dgm:spPr/>
      <dgm:t>
        <a:bodyPr/>
        <a:lstStyle/>
        <a:p>
          <a:r>
            <a:rPr lang="pt-BR" sz="1200" b="1" dirty="0"/>
            <a:t>26. do 30. travnja 2021. godine</a:t>
          </a:r>
          <a:endParaRPr lang="hr-HR" sz="1200" b="1" dirty="0"/>
        </a:p>
        <a:p>
          <a:r>
            <a:rPr lang="hr-HR" sz="1200" dirty="0"/>
            <a:t>Edukacija i certificiranje zaposlenika službe za prevenciju prevara</a:t>
          </a:r>
        </a:p>
        <a:p>
          <a:endParaRPr lang="hr-HR" sz="1200" dirty="0"/>
        </a:p>
      </dgm:t>
    </dgm:pt>
    <dgm:pt modelId="{46104A38-EC20-4AA1-98BE-5778283DD247}" type="parTrans" cxnId="{43C98A63-7333-4892-B6D9-7CF1F36BC5F6}">
      <dgm:prSet/>
      <dgm:spPr/>
      <dgm:t>
        <a:bodyPr/>
        <a:lstStyle/>
        <a:p>
          <a:endParaRPr lang="hr-HR"/>
        </a:p>
      </dgm:t>
    </dgm:pt>
    <dgm:pt modelId="{E14DB074-F631-4D27-A979-0904CCD02F81}" type="sibTrans" cxnId="{43C98A63-7333-4892-B6D9-7CF1F36BC5F6}">
      <dgm:prSet/>
      <dgm:spPr/>
      <dgm:t>
        <a:bodyPr/>
        <a:lstStyle/>
        <a:p>
          <a:endParaRPr lang="hr-HR"/>
        </a:p>
      </dgm:t>
    </dgm:pt>
    <dgm:pt modelId="{9E826A02-8888-4AC7-BC76-1CE7E505F500}">
      <dgm:prSet phldrT="[Text]" custT="1"/>
      <dgm:spPr/>
      <dgm:t>
        <a:bodyPr/>
        <a:lstStyle/>
        <a:p>
          <a:r>
            <a:rPr lang="hr-HR" sz="1200" b="1" dirty="0"/>
            <a:t>listopad 2021. godine</a:t>
          </a:r>
        </a:p>
        <a:p>
          <a:r>
            <a:rPr lang="hr-HR" sz="1200" dirty="0"/>
            <a:t> Edukacije zaposlenika</a:t>
          </a:r>
        </a:p>
      </dgm:t>
    </dgm:pt>
    <dgm:pt modelId="{780256B0-8AE5-4F8B-83A4-822E25B187D7}" type="parTrans" cxnId="{7616955D-C5A4-41ED-A8CF-434413902494}">
      <dgm:prSet/>
      <dgm:spPr/>
      <dgm:t>
        <a:bodyPr/>
        <a:lstStyle/>
        <a:p>
          <a:endParaRPr lang="hr-HR"/>
        </a:p>
      </dgm:t>
    </dgm:pt>
    <dgm:pt modelId="{5A4CEA1A-DAF0-459E-A091-6606116A4252}" type="sibTrans" cxnId="{7616955D-C5A4-41ED-A8CF-434413902494}">
      <dgm:prSet/>
      <dgm:spPr/>
      <dgm:t>
        <a:bodyPr/>
        <a:lstStyle/>
        <a:p>
          <a:endParaRPr lang="hr-HR"/>
        </a:p>
      </dgm:t>
    </dgm:pt>
    <dgm:pt modelId="{A0F16E00-C66B-4663-92E3-CC0D3BBDE057}">
      <dgm:prSet phldrT="[Text]" custT="1"/>
      <dgm:spPr/>
      <dgm:t>
        <a:bodyPr/>
        <a:lstStyle/>
        <a:p>
          <a:r>
            <a:rPr lang="nn-NO" sz="1200" b="1" dirty="0"/>
            <a:t>srpanj i kolovoz 2021. godine</a:t>
          </a:r>
          <a:endParaRPr lang="hr-HR" sz="1200" b="1" dirty="0"/>
        </a:p>
        <a:p>
          <a:r>
            <a:rPr lang="hr-HR" sz="1200" b="0" dirty="0"/>
            <a:t>P</a:t>
          </a:r>
          <a:r>
            <a:rPr lang="hr-HR" sz="1200" dirty="0"/>
            <a:t>rovedba postupka jednostavne javne nabave za konzultantske usluge ISO:37001</a:t>
          </a:r>
        </a:p>
      </dgm:t>
    </dgm:pt>
    <dgm:pt modelId="{48CFD637-8795-4E9A-86BA-71E1612B6A00}" type="parTrans" cxnId="{31BB98BB-B3BE-4A07-A49A-EB5C04025AB3}">
      <dgm:prSet/>
      <dgm:spPr/>
      <dgm:t>
        <a:bodyPr/>
        <a:lstStyle/>
        <a:p>
          <a:endParaRPr lang="hr-HR"/>
        </a:p>
      </dgm:t>
    </dgm:pt>
    <dgm:pt modelId="{1B5A0A22-6C23-47D1-8973-9F06571576B0}" type="sibTrans" cxnId="{31BB98BB-B3BE-4A07-A49A-EB5C04025AB3}">
      <dgm:prSet/>
      <dgm:spPr/>
      <dgm:t>
        <a:bodyPr/>
        <a:lstStyle/>
        <a:p>
          <a:endParaRPr lang="hr-HR"/>
        </a:p>
      </dgm:t>
    </dgm:pt>
    <dgm:pt modelId="{B546970C-8A60-4276-9E86-C467797AEFCF}">
      <dgm:prSet phldrT="[Text]" custT="1"/>
      <dgm:spPr/>
      <dgm:t>
        <a:bodyPr/>
        <a:lstStyle/>
        <a:p>
          <a:pPr algn="ctr"/>
          <a:r>
            <a:rPr lang="hr-HR" sz="1200" b="1" dirty="0"/>
            <a:t>2022. godina</a:t>
          </a:r>
        </a:p>
        <a:p>
          <a:pPr algn="ctr"/>
          <a:r>
            <a:rPr lang="hr-HR" sz="1200" dirty="0"/>
            <a:t>Certifikacija Fonda za obnovu</a:t>
          </a:r>
        </a:p>
      </dgm:t>
    </dgm:pt>
    <dgm:pt modelId="{084B7027-B2BD-4C28-9725-639A0365FA9C}" type="parTrans" cxnId="{7025FD2A-133D-479D-B332-CAFE4CED5D06}">
      <dgm:prSet/>
      <dgm:spPr/>
      <dgm:t>
        <a:bodyPr/>
        <a:lstStyle/>
        <a:p>
          <a:endParaRPr lang="hr-HR"/>
        </a:p>
      </dgm:t>
    </dgm:pt>
    <dgm:pt modelId="{B5CF149F-18DE-4F2B-884C-B21A6246F07A}" type="sibTrans" cxnId="{7025FD2A-133D-479D-B332-CAFE4CED5D06}">
      <dgm:prSet/>
      <dgm:spPr/>
      <dgm:t>
        <a:bodyPr/>
        <a:lstStyle/>
        <a:p>
          <a:endParaRPr lang="hr-HR"/>
        </a:p>
      </dgm:t>
    </dgm:pt>
    <dgm:pt modelId="{34D9E87A-2C88-4910-A862-AA9E44C66C70}">
      <dgm:prSet custT="1"/>
      <dgm:spPr/>
      <dgm:t>
        <a:bodyPr/>
        <a:lstStyle/>
        <a:p>
          <a:r>
            <a:rPr lang="hr-HR" sz="1200" b="1" dirty="0"/>
            <a:t>siječanj 2022. godine</a:t>
          </a:r>
        </a:p>
        <a:p>
          <a:r>
            <a:rPr lang="hr-HR" sz="1200" dirty="0"/>
            <a:t>Interni audit procesa i sustava u Fondu za obnovu</a:t>
          </a:r>
        </a:p>
      </dgm:t>
    </dgm:pt>
    <dgm:pt modelId="{1F580F3A-00DB-473B-BECB-55D1F40F1C5F}" type="parTrans" cxnId="{581C80FD-E8D7-4457-B176-024F59B9FD4D}">
      <dgm:prSet/>
      <dgm:spPr/>
      <dgm:t>
        <a:bodyPr/>
        <a:lstStyle/>
        <a:p>
          <a:endParaRPr lang="hr-HR"/>
        </a:p>
      </dgm:t>
    </dgm:pt>
    <dgm:pt modelId="{CC034C5E-A19B-4F14-ADE9-820ABBBBF9D3}" type="sibTrans" cxnId="{581C80FD-E8D7-4457-B176-024F59B9FD4D}">
      <dgm:prSet/>
      <dgm:spPr/>
      <dgm:t>
        <a:bodyPr/>
        <a:lstStyle/>
        <a:p>
          <a:endParaRPr lang="hr-HR"/>
        </a:p>
      </dgm:t>
    </dgm:pt>
    <dgm:pt modelId="{CBD68416-DF61-4BE2-8048-9F6D195F3D5E}" type="pres">
      <dgm:prSet presAssocID="{6B54A536-F1E8-465F-8A82-A38B363A3464}" presName="Name0" presStyleCnt="0">
        <dgm:presLayoutVars>
          <dgm:dir/>
          <dgm:resizeHandles val="exact"/>
        </dgm:presLayoutVars>
      </dgm:prSet>
      <dgm:spPr/>
    </dgm:pt>
    <dgm:pt modelId="{8037542F-81BB-4D39-944C-A98010E423D2}" type="pres">
      <dgm:prSet presAssocID="{6B54A536-F1E8-465F-8A82-A38B363A3464}" presName="arrow" presStyleLbl="bgShp" presStyleIdx="0" presStyleCnt="1"/>
      <dgm:spPr/>
      <dgm:extLst>
        <a:ext uri="{E40237B7-FDA0-4F09-8148-C483321AD2D9}">
          <dgm14:cNvPr xmlns:dgm14="http://schemas.microsoft.com/office/drawing/2010/diagram" id="0" name="">
            <a:hlinkClick xmlns:r="http://schemas.openxmlformats.org/officeDocument/2006/relationships" r:id="rId1"/>
          </dgm14:cNvPr>
        </a:ext>
      </dgm:extLst>
    </dgm:pt>
    <dgm:pt modelId="{4D7D9458-4A43-443C-AEE9-A07B6D24D195}" type="pres">
      <dgm:prSet presAssocID="{6B54A536-F1E8-465F-8A82-A38B363A3464}" presName="points" presStyleCnt="0"/>
      <dgm:spPr/>
    </dgm:pt>
    <dgm:pt modelId="{46D3E51C-2E09-47FC-A8BD-59CD6F31B780}" type="pres">
      <dgm:prSet presAssocID="{0F009969-E090-4F7E-B66B-19BDD2DC8DA9}" presName="compositeA" presStyleCnt="0"/>
      <dgm:spPr/>
    </dgm:pt>
    <dgm:pt modelId="{638D5BBB-08AC-4000-96D5-9344BA370B54}" type="pres">
      <dgm:prSet presAssocID="{0F009969-E090-4F7E-B66B-19BDD2DC8DA9}" presName="textA" presStyleLbl="revTx" presStyleIdx="0" presStyleCnt="6" custScaleX="390717">
        <dgm:presLayoutVars>
          <dgm:bulletEnabled val="1"/>
        </dgm:presLayoutVars>
      </dgm:prSet>
      <dgm:spPr/>
    </dgm:pt>
    <dgm:pt modelId="{BE88EFC7-6729-4CE9-AA9E-36BC9CA57A2A}" type="pres">
      <dgm:prSet presAssocID="{0F009969-E090-4F7E-B66B-19BDD2DC8DA9}" presName="circleA" presStyleLbl="node1" presStyleIdx="0" presStyleCnt="6"/>
      <dgm:spPr/>
    </dgm:pt>
    <dgm:pt modelId="{14E1F4D6-652E-4901-A4F3-12B4E8B6B10A}" type="pres">
      <dgm:prSet presAssocID="{0F009969-E090-4F7E-B66B-19BDD2DC8DA9}" presName="spaceA" presStyleCnt="0"/>
      <dgm:spPr/>
    </dgm:pt>
    <dgm:pt modelId="{2C9C81B4-CF17-4AF4-AB12-575CE636A996}" type="pres">
      <dgm:prSet presAssocID="{F0806B0D-BBF7-4786-AB51-25E62B532340}" presName="space" presStyleCnt="0"/>
      <dgm:spPr/>
    </dgm:pt>
    <dgm:pt modelId="{1492E739-4D31-4D1C-B748-E89EEB38F689}" type="pres">
      <dgm:prSet presAssocID="{AD098368-BD0E-4DF4-BDDE-1143B3B73CB2}" presName="compositeB" presStyleCnt="0"/>
      <dgm:spPr/>
    </dgm:pt>
    <dgm:pt modelId="{0A6465A2-9079-4ABE-9874-6EB6FFE7CACB}" type="pres">
      <dgm:prSet presAssocID="{AD098368-BD0E-4DF4-BDDE-1143B3B73CB2}" presName="textB" presStyleLbl="revTx" presStyleIdx="1" presStyleCnt="6" custScaleX="372532">
        <dgm:presLayoutVars>
          <dgm:bulletEnabled val="1"/>
        </dgm:presLayoutVars>
      </dgm:prSet>
      <dgm:spPr/>
    </dgm:pt>
    <dgm:pt modelId="{47ADA2E3-C5A1-453F-9929-E5DB0FB163EC}" type="pres">
      <dgm:prSet presAssocID="{AD098368-BD0E-4DF4-BDDE-1143B3B73CB2}" presName="circleB" presStyleLbl="node1" presStyleIdx="1" presStyleCnt="6"/>
      <dgm:spPr/>
    </dgm:pt>
    <dgm:pt modelId="{9DD4BB48-C1C0-4156-8B1F-EA9D3CD0E5D2}" type="pres">
      <dgm:prSet presAssocID="{AD098368-BD0E-4DF4-BDDE-1143B3B73CB2}" presName="spaceB" presStyleCnt="0"/>
      <dgm:spPr/>
    </dgm:pt>
    <dgm:pt modelId="{0704C1D7-3747-499D-86F1-0DBEE8390456}" type="pres">
      <dgm:prSet presAssocID="{E14DB074-F631-4D27-A979-0904CCD02F81}" presName="space" presStyleCnt="0"/>
      <dgm:spPr/>
    </dgm:pt>
    <dgm:pt modelId="{500FBA7A-86BD-4813-8352-ADD9EADC40F1}" type="pres">
      <dgm:prSet presAssocID="{A0F16E00-C66B-4663-92E3-CC0D3BBDE057}" presName="compositeA" presStyleCnt="0"/>
      <dgm:spPr/>
    </dgm:pt>
    <dgm:pt modelId="{D0B5CE25-BCA3-4EA4-849F-CD7E63EDBB92}" type="pres">
      <dgm:prSet presAssocID="{A0F16E00-C66B-4663-92E3-CC0D3BBDE057}" presName="textA" presStyleLbl="revTx" presStyleIdx="2" presStyleCnt="6" custScaleX="471749">
        <dgm:presLayoutVars>
          <dgm:bulletEnabled val="1"/>
        </dgm:presLayoutVars>
      </dgm:prSet>
      <dgm:spPr/>
    </dgm:pt>
    <dgm:pt modelId="{7C9A5299-CC5F-4D14-B5CE-9E135E7C8C66}" type="pres">
      <dgm:prSet presAssocID="{A0F16E00-C66B-4663-92E3-CC0D3BBDE057}" presName="circleA" presStyleLbl="node1" presStyleIdx="2" presStyleCnt="6"/>
      <dgm:spPr/>
    </dgm:pt>
    <dgm:pt modelId="{A8E5DC55-A6DF-450B-A7DF-5C2CD6F0C8DE}" type="pres">
      <dgm:prSet presAssocID="{A0F16E00-C66B-4663-92E3-CC0D3BBDE057}" presName="spaceA" presStyleCnt="0"/>
      <dgm:spPr/>
    </dgm:pt>
    <dgm:pt modelId="{27EE97E9-E397-4CEC-AC1B-C63C9A5F7623}" type="pres">
      <dgm:prSet presAssocID="{1B5A0A22-6C23-47D1-8973-9F06571576B0}" presName="space" presStyleCnt="0"/>
      <dgm:spPr/>
    </dgm:pt>
    <dgm:pt modelId="{94A6830B-38E6-4439-B74A-26301AAFF909}" type="pres">
      <dgm:prSet presAssocID="{9E826A02-8888-4AC7-BC76-1CE7E505F500}" presName="compositeB" presStyleCnt="0"/>
      <dgm:spPr/>
    </dgm:pt>
    <dgm:pt modelId="{6BD0123F-A350-4E4A-B53D-D0A8276FDAED}" type="pres">
      <dgm:prSet presAssocID="{9E826A02-8888-4AC7-BC76-1CE7E505F500}" presName="textB" presStyleLbl="revTx" presStyleIdx="3" presStyleCnt="6" custScaleX="401704">
        <dgm:presLayoutVars>
          <dgm:bulletEnabled val="1"/>
        </dgm:presLayoutVars>
      </dgm:prSet>
      <dgm:spPr/>
    </dgm:pt>
    <dgm:pt modelId="{5073EAD1-E84A-416A-992E-0154D6972046}" type="pres">
      <dgm:prSet presAssocID="{9E826A02-8888-4AC7-BC76-1CE7E505F500}" presName="circleB" presStyleLbl="node1" presStyleIdx="3" presStyleCnt="6"/>
      <dgm:spPr/>
    </dgm:pt>
    <dgm:pt modelId="{D8F0608A-8B69-4131-AAF9-CB9DCC038A06}" type="pres">
      <dgm:prSet presAssocID="{9E826A02-8888-4AC7-BC76-1CE7E505F500}" presName="spaceB" presStyleCnt="0"/>
      <dgm:spPr/>
    </dgm:pt>
    <dgm:pt modelId="{FCF44EE7-E089-4E5B-ADD3-8631482CD6B1}" type="pres">
      <dgm:prSet presAssocID="{5A4CEA1A-DAF0-459E-A091-6606116A4252}" presName="space" presStyleCnt="0"/>
      <dgm:spPr/>
    </dgm:pt>
    <dgm:pt modelId="{F17077DC-034B-4748-873A-73EBE4B23828}" type="pres">
      <dgm:prSet presAssocID="{34D9E87A-2C88-4910-A862-AA9E44C66C70}" presName="compositeA" presStyleCnt="0"/>
      <dgm:spPr/>
    </dgm:pt>
    <dgm:pt modelId="{5FDE0FDD-0B53-4E32-A309-B0102E4DB2F8}" type="pres">
      <dgm:prSet presAssocID="{34D9E87A-2C88-4910-A862-AA9E44C66C70}" presName="textA" presStyleLbl="revTx" presStyleIdx="4" presStyleCnt="6" custScaleX="451997">
        <dgm:presLayoutVars>
          <dgm:bulletEnabled val="1"/>
        </dgm:presLayoutVars>
      </dgm:prSet>
      <dgm:spPr/>
    </dgm:pt>
    <dgm:pt modelId="{DF3A2B56-C167-42EC-8FC3-5C83CE9EFA50}" type="pres">
      <dgm:prSet presAssocID="{34D9E87A-2C88-4910-A862-AA9E44C66C70}" presName="circleA" presStyleLbl="node1" presStyleIdx="4" presStyleCnt="6"/>
      <dgm:spPr/>
    </dgm:pt>
    <dgm:pt modelId="{090CE01D-5D4A-4071-B916-FA8F1258422C}" type="pres">
      <dgm:prSet presAssocID="{34D9E87A-2C88-4910-A862-AA9E44C66C70}" presName="spaceA" presStyleCnt="0"/>
      <dgm:spPr/>
    </dgm:pt>
    <dgm:pt modelId="{C842748A-1F94-461A-85A5-E568E6A98341}" type="pres">
      <dgm:prSet presAssocID="{CC034C5E-A19B-4F14-ADE9-820ABBBBF9D3}" presName="space" presStyleCnt="0"/>
      <dgm:spPr/>
    </dgm:pt>
    <dgm:pt modelId="{9DB017E7-130D-4AA4-9D3A-EE4D44704DCC}" type="pres">
      <dgm:prSet presAssocID="{B546970C-8A60-4276-9E86-C467797AEFCF}" presName="compositeB" presStyleCnt="0"/>
      <dgm:spPr/>
    </dgm:pt>
    <dgm:pt modelId="{D941A0ED-A776-4935-A96C-C443475159F6}" type="pres">
      <dgm:prSet presAssocID="{B546970C-8A60-4276-9E86-C467797AEFCF}" presName="textB" presStyleLbl="revTx" presStyleIdx="5" presStyleCnt="6" custScaleX="366219">
        <dgm:presLayoutVars>
          <dgm:bulletEnabled val="1"/>
        </dgm:presLayoutVars>
      </dgm:prSet>
      <dgm:spPr/>
    </dgm:pt>
    <dgm:pt modelId="{AB754DAF-120B-413F-9DFD-36F29D3D6DAD}" type="pres">
      <dgm:prSet presAssocID="{B546970C-8A60-4276-9E86-C467797AEFCF}" presName="circleB" presStyleLbl="node1" presStyleIdx="5" presStyleCnt="6"/>
      <dgm:spPr/>
    </dgm:pt>
    <dgm:pt modelId="{36E59C7B-7F24-468C-8C88-1DD359A8FD38}" type="pres">
      <dgm:prSet presAssocID="{B546970C-8A60-4276-9E86-C467797AEFCF}" presName="spaceB" presStyleCnt="0"/>
      <dgm:spPr/>
    </dgm:pt>
  </dgm:ptLst>
  <dgm:cxnLst>
    <dgm:cxn modelId="{7025FD2A-133D-479D-B332-CAFE4CED5D06}" srcId="{6B54A536-F1E8-465F-8A82-A38B363A3464}" destId="{B546970C-8A60-4276-9E86-C467797AEFCF}" srcOrd="5" destOrd="0" parTransId="{084B7027-B2BD-4C28-9725-639A0365FA9C}" sibTransId="{B5CF149F-18DE-4F2B-884C-B21A6246F07A}"/>
    <dgm:cxn modelId="{7616955D-C5A4-41ED-A8CF-434413902494}" srcId="{6B54A536-F1E8-465F-8A82-A38B363A3464}" destId="{9E826A02-8888-4AC7-BC76-1CE7E505F500}" srcOrd="3" destOrd="0" parTransId="{780256B0-8AE5-4F8B-83A4-822E25B187D7}" sibTransId="{5A4CEA1A-DAF0-459E-A091-6606116A4252}"/>
    <dgm:cxn modelId="{43C98A63-7333-4892-B6D9-7CF1F36BC5F6}" srcId="{6B54A536-F1E8-465F-8A82-A38B363A3464}" destId="{AD098368-BD0E-4DF4-BDDE-1143B3B73CB2}" srcOrd="1" destOrd="0" parTransId="{46104A38-EC20-4AA1-98BE-5778283DD247}" sibTransId="{E14DB074-F631-4D27-A979-0904CCD02F81}"/>
    <dgm:cxn modelId="{AA407F69-D846-4283-A44B-08328730DF90}" type="presOf" srcId="{0F009969-E090-4F7E-B66B-19BDD2DC8DA9}" destId="{638D5BBB-08AC-4000-96D5-9344BA370B54}" srcOrd="0" destOrd="0" presId="urn:microsoft.com/office/officeart/2005/8/layout/hProcess11"/>
    <dgm:cxn modelId="{F8C98E4A-0D23-4C52-8E35-7E0A06F1B20E}" type="presOf" srcId="{AD098368-BD0E-4DF4-BDDE-1143B3B73CB2}" destId="{0A6465A2-9079-4ABE-9874-6EB6FFE7CACB}" srcOrd="0" destOrd="0" presId="urn:microsoft.com/office/officeart/2005/8/layout/hProcess11"/>
    <dgm:cxn modelId="{6832C2A8-07E0-4995-927E-860656C8B5B4}" type="presOf" srcId="{9E826A02-8888-4AC7-BC76-1CE7E505F500}" destId="{6BD0123F-A350-4E4A-B53D-D0A8276FDAED}" srcOrd="0" destOrd="0" presId="urn:microsoft.com/office/officeart/2005/8/layout/hProcess11"/>
    <dgm:cxn modelId="{780739A9-D462-4EB3-98CD-C1A2D047A060}" type="presOf" srcId="{6B54A536-F1E8-465F-8A82-A38B363A3464}" destId="{CBD68416-DF61-4BE2-8048-9F6D195F3D5E}" srcOrd="0" destOrd="0" presId="urn:microsoft.com/office/officeart/2005/8/layout/hProcess11"/>
    <dgm:cxn modelId="{31BB98BB-B3BE-4A07-A49A-EB5C04025AB3}" srcId="{6B54A536-F1E8-465F-8A82-A38B363A3464}" destId="{A0F16E00-C66B-4663-92E3-CC0D3BBDE057}" srcOrd="2" destOrd="0" parTransId="{48CFD637-8795-4E9A-86BA-71E1612B6A00}" sibTransId="{1B5A0A22-6C23-47D1-8973-9F06571576B0}"/>
    <dgm:cxn modelId="{48D896C1-FD91-42BE-8C3B-C89C803F353D}" srcId="{6B54A536-F1E8-465F-8A82-A38B363A3464}" destId="{0F009969-E090-4F7E-B66B-19BDD2DC8DA9}" srcOrd="0" destOrd="0" parTransId="{6492856A-18A4-4D8B-8C75-4D859F7A783E}" sibTransId="{F0806B0D-BBF7-4786-AB51-25E62B532340}"/>
    <dgm:cxn modelId="{6F62FFCA-3EEB-460A-B9CD-470F54115F16}" type="presOf" srcId="{B546970C-8A60-4276-9E86-C467797AEFCF}" destId="{D941A0ED-A776-4935-A96C-C443475159F6}" srcOrd="0" destOrd="0" presId="urn:microsoft.com/office/officeart/2005/8/layout/hProcess11"/>
    <dgm:cxn modelId="{BDB1CFDC-B62C-4DCA-B541-380E991734C0}" type="presOf" srcId="{A0F16E00-C66B-4663-92E3-CC0D3BBDE057}" destId="{D0B5CE25-BCA3-4EA4-849F-CD7E63EDBB92}" srcOrd="0" destOrd="0" presId="urn:microsoft.com/office/officeart/2005/8/layout/hProcess11"/>
    <dgm:cxn modelId="{A5AF22ED-EC7E-46A9-8067-646829505347}" type="presOf" srcId="{34D9E87A-2C88-4910-A862-AA9E44C66C70}" destId="{5FDE0FDD-0B53-4E32-A309-B0102E4DB2F8}" srcOrd="0" destOrd="0" presId="urn:microsoft.com/office/officeart/2005/8/layout/hProcess11"/>
    <dgm:cxn modelId="{581C80FD-E8D7-4457-B176-024F59B9FD4D}" srcId="{6B54A536-F1E8-465F-8A82-A38B363A3464}" destId="{34D9E87A-2C88-4910-A862-AA9E44C66C70}" srcOrd="4" destOrd="0" parTransId="{1F580F3A-00DB-473B-BECB-55D1F40F1C5F}" sibTransId="{CC034C5E-A19B-4F14-ADE9-820ABBBBF9D3}"/>
    <dgm:cxn modelId="{2EDE8693-D015-4D78-B8BB-FF00AC06B2A2}" type="presParOf" srcId="{CBD68416-DF61-4BE2-8048-9F6D195F3D5E}" destId="{8037542F-81BB-4D39-944C-A98010E423D2}" srcOrd="0" destOrd="0" presId="urn:microsoft.com/office/officeart/2005/8/layout/hProcess11"/>
    <dgm:cxn modelId="{01D063C4-B862-4B51-8C75-834CCFEE3C67}" type="presParOf" srcId="{CBD68416-DF61-4BE2-8048-9F6D195F3D5E}" destId="{4D7D9458-4A43-443C-AEE9-A07B6D24D195}" srcOrd="1" destOrd="0" presId="urn:microsoft.com/office/officeart/2005/8/layout/hProcess11"/>
    <dgm:cxn modelId="{18A91A76-86B0-4DB0-BDB6-C5DA8D4784BD}" type="presParOf" srcId="{4D7D9458-4A43-443C-AEE9-A07B6D24D195}" destId="{46D3E51C-2E09-47FC-A8BD-59CD6F31B780}" srcOrd="0" destOrd="0" presId="urn:microsoft.com/office/officeart/2005/8/layout/hProcess11"/>
    <dgm:cxn modelId="{0FC95F5C-E564-4C05-962F-631074806FE5}" type="presParOf" srcId="{46D3E51C-2E09-47FC-A8BD-59CD6F31B780}" destId="{638D5BBB-08AC-4000-96D5-9344BA370B54}" srcOrd="0" destOrd="0" presId="urn:microsoft.com/office/officeart/2005/8/layout/hProcess11"/>
    <dgm:cxn modelId="{063C5B25-7F52-4D2F-B93D-DE9CF48B83D9}" type="presParOf" srcId="{46D3E51C-2E09-47FC-A8BD-59CD6F31B780}" destId="{BE88EFC7-6729-4CE9-AA9E-36BC9CA57A2A}" srcOrd="1" destOrd="0" presId="urn:microsoft.com/office/officeart/2005/8/layout/hProcess11"/>
    <dgm:cxn modelId="{D4F6FB3D-8687-4FEE-8753-15DDA4AC11A0}" type="presParOf" srcId="{46D3E51C-2E09-47FC-A8BD-59CD6F31B780}" destId="{14E1F4D6-652E-4901-A4F3-12B4E8B6B10A}" srcOrd="2" destOrd="0" presId="urn:microsoft.com/office/officeart/2005/8/layout/hProcess11"/>
    <dgm:cxn modelId="{55625901-0C10-47B1-8A39-DF48CA4BA68D}" type="presParOf" srcId="{4D7D9458-4A43-443C-AEE9-A07B6D24D195}" destId="{2C9C81B4-CF17-4AF4-AB12-575CE636A996}" srcOrd="1" destOrd="0" presId="urn:microsoft.com/office/officeart/2005/8/layout/hProcess11"/>
    <dgm:cxn modelId="{BC28ABC9-3628-42C9-8972-930D34F2EE07}" type="presParOf" srcId="{4D7D9458-4A43-443C-AEE9-A07B6D24D195}" destId="{1492E739-4D31-4D1C-B748-E89EEB38F689}" srcOrd="2" destOrd="0" presId="urn:microsoft.com/office/officeart/2005/8/layout/hProcess11"/>
    <dgm:cxn modelId="{A61099A8-3107-4D47-830B-8B95694DBC88}" type="presParOf" srcId="{1492E739-4D31-4D1C-B748-E89EEB38F689}" destId="{0A6465A2-9079-4ABE-9874-6EB6FFE7CACB}" srcOrd="0" destOrd="0" presId="urn:microsoft.com/office/officeart/2005/8/layout/hProcess11"/>
    <dgm:cxn modelId="{21EB0516-72CA-4E95-94C7-5D3F573C1E74}" type="presParOf" srcId="{1492E739-4D31-4D1C-B748-E89EEB38F689}" destId="{47ADA2E3-C5A1-453F-9929-E5DB0FB163EC}" srcOrd="1" destOrd="0" presId="urn:microsoft.com/office/officeart/2005/8/layout/hProcess11"/>
    <dgm:cxn modelId="{DCA2E1C7-32AF-46D9-B2B9-C3947CCBA181}" type="presParOf" srcId="{1492E739-4D31-4D1C-B748-E89EEB38F689}" destId="{9DD4BB48-C1C0-4156-8B1F-EA9D3CD0E5D2}" srcOrd="2" destOrd="0" presId="urn:microsoft.com/office/officeart/2005/8/layout/hProcess11"/>
    <dgm:cxn modelId="{30FD33AB-6269-476D-9D67-9B8927204030}" type="presParOf" srcId="{4D7D9458-4A43-443C-AEE9-A07B6D24D195}" destId="{0704C1D7-3747-499D-86F1-0DBEE8390456}" srcOrd="3" destOrd="0" presId="urn:microsoft.com/office/officeart/2005/8/layout/hProcess11"/>
    <dgm:cxn modelId="{BFAD30D4-49EF-450F-8A46-5DABA149A1A8}" type="presParOf" srcId="{4D7D9458-4A43-443C-AEE9-A07B6D24D195}" destId="{500FBA7A-86BD-4813-8352-ADD9EADC40F1}" srcOrd="4" destOrd="0" presId="urn:microsoft.com/office/officeart/2005/8/layout/hProcess11"/>
    <dgm:cxn modelId="{974CEE10-B9BE-4332-B417-9235C99C8132}" type="presParOf" srcId="{500FBA7A-86BD-4813-8352-ADD9EADC40F1}" destId="{D0B5CE25-BCA3-4EA4-849F-CD7E63EDBB92}" srcOrd="0" destOrd="0" presId="urn:microsoft.com/office/officeart/2005/8/layout/hProcess11"/>
    <dgm:cxn modelId="{1098F6EF-C794-4DFA-B91A-E15707786FCE}" type="presParOf" srcId="{500FBA7A-86BD-4813-8352-ADD9EADC40F1}" destId="{7C9A5299-CC5F-4D14-B5CE-9E135E7C8C66}" srcOrd="1" destOrd="0" presId="urn:microsoft.com/office/officeart/2005/8/layout/hProcess11"/>
    <dgm:cxn modelId="{9EA760B1-94D6-4725-8200-494BAF157512}" type="presParOf" srcId="{500FBA7A-86BD-4813-8352-ADD9EADC40F1}" destId="{A8E5DC55-A6DF-450B-A7DF-5C2CD6F0C8DE}" srcOrd="2" destOrd="0" presId="urn:microsoft.com/office/officeart/2005/8/layout/hProcess11"/>
    <dgm:cxn modelId="{08854568-B399-44DD-89F6-90723D80297C}" type="presParOf" srcId="{4D7D9458-4A43-443C-AEE9-A07B6D24D195}" destId="{27EE97E9-E397-4CEC-AC1B-C63C9A5F7623}" srcOrd="5" destOrd="0" presId="urn:microsoft.com/office/officeart/2005/8/layout/hProcess11"/>
    <dgm:cxn modelId="{B14FE4AC-7BED-404D-873C-DB38EE9F27C7}" type="presParOf" srcId="{4D7D9458-4A43-443C-AEE9-A07B6D24D195}" destId="{94A6830B-38E6-4439-B74A-26301AAFF909}" srcOrd="6" destOrd="0" presId="urn:microsoft.com/office/officeart/2005/8/layout/hProcess11"/>
    <dgm:cxn modelId="{FB9870E0-60C6-4588-8ADD-455767AE1932}" type="presParOf" srcId="{94A6830B-38E6-4439-B74A-26301AAFF909}" destId="{6BD0123F-A350-4E4A-B53D-D0A8276FDAED}" srcOrd="0" destOrd="0" presId="urn:microsoft.com/office/officeart/2005/8/layout/hProcess11"/>
    <dgm:cxn modelId="{435D4978-6BE0-45AA-8312-F168A8D74197}" type="presParOf" srcId="{94A6830B-38E6-4439-B74A-26301AAFF909}" destId="{5073EAD1-E84A-416A-992E-0154D6972046}" srcOrd="1" destOrd="0" presId="urn:microsoft.com/office/officeart/2005/8/layout/hProcess11"/>
    <dgm:cxn modelId="{3F3F9FF4-9AC2-4FE0-AAE6-CC39B6475DA9}" type="presParOf" srcId="{94A6830B-38E6-4439-B74A-26301AAFF909}" destId="{D8F0608A-8B69-4131-AAF9-CB9DCC038A06}" srcOrd="2" destOrd="0" presId="urn:microsoft.com/office/officeart/2005/8/layout/hProcess11"/>
    <dgm:cxn modelId="{B251717D-CB0C-4055-A210-EA48DE47E477}" type="presParOf" srcId="{4D7D9458-4A43-443C-AEE9-A07B6D24D195}" destId="{FCF44EE7-E089-4E5B-ADD3-8631482CD6B1}" srcOrd="7" destOrd="0" presId="urn:microsoft.com/office/officeart/2005/8/layout/hProcess11"/>
    <dgm:cxn modelId="{36953C0B-373B-4BAB-B2BB-97C3493F6F13}" type="presParOf" srcId="{4D7D9458-4A43-443C-AEE9-A07B6D24D195}" destId="{F17077DC-034B-4748-873A-73EBE4B23828}" srcOrd="8" destOrd="0" presId="urn:microsoft.com/office/officeart/2005/8/layout/hProcess11"/>
    <dgm:cxn modelId="{969951B1-1DC7-44E3-B0D7-6AC4D33399AA}" type="presParOf" srcId="{F17077DC-034B-4748-873A-73EBE4B23828}" destId="{5FDE0FDD-0B53-4E32-A309-B0102E4DB2F8}" srcOrd="0" destOrd="0" presId="urn:microsoft.com/office/officeart/2005/8/layout/hProcess11"/>
    <dgm:cxn modelId="{B40BC9EE-F88E-47D3-A40E-559F1C864520}" type="presParOf" srcId="{F17077DC-034B-4748-873A-73EBE4B23828}" destId="{DF3A2B56-C167-42EC-8FC3-5C83CE9EFA50}" srcOrd="1" destOrd="0" presId="urn:microsoft.com/office/officeart/2005/8/layout/hProcess11"/>
    <dgm:cxn modelId="{57B0384A-B50E-4190-83E4-F502AB8E3A00}" type="presParOf" srcId="{F17077DC-034B-4748-873A-73EBE4B23828}" destId="{090CE01D-5D4A-4071-B916-FA8F1258422C}" srcOrd="2" destOrd="0" presId="urn:microsoft.com/office/officeart/2005/8/layout/hProcess11"/>
    <dgm:cxn modelId="{3C293C94-03BE-478B-90A5-FC64B20C8EDC}" type="presParOf" srcId="{4D7D9458-4A43-443C-AEE9-A07B6D24D195}" destId="{C842748A-1F94-461A-85A5-E568E6A98341}" srcOrd="9" destOrd="0" presId="urn:microsoft.com/office/officeart/2005/8/layout/hProcess11"/>
    <dgm:cxn modelId="{8092E819-907D-450A-B2BB-D390F997AE6D}" type="presParOf" srcId="{4D7D9458-4A43-443C-AEE9-A07B6D24D195}" destId="{9DB017E7-130D-4AA4-9D3A-EE4D44704DCC}" srcOrd="10" destOrd="0" presId="urn:microsoft.com/office/officeart/2005/8/layout/hProcess11"/>
    <dgm:cxn modelId="{B492BF24-A7A4-4C7A-B46C-7CDA6BD2B7AC}" type="presParOf" srcId="{9DB017E7-130D-4AA4-9D3A-EE4D44704DCC}" destId="{D941A0ED-A776-4935-A96C-C443475159F6}" srcOrd="0" destOrd="0" presId="urn:microsoft.com/office/officeart/2005/8/layout/hProcess11"/>
    <dgm:cxn modelId="{339B11A3-C426-4BC8-B5FF-BD39BFDFFF9C}" type="presParOf" srcId="{9DB017E7-130D-4AA4-9D3A-EE4D44704DCC}" destId="{AB754DAF-120B-413F-9DFD-36F29D3D6DAD}" srcOrd="1" destOrd="0" presId="urn:microsoft.com/office/officeart/2005/8/layout/hProcess11"/>
    <dgm:cxn modelId="{D235E093-E43A-41F4-9F22-78897392CA71}" type="presParOf" srcId="{9DB017E7-130D-4AA4-9D3A-EE4D44704DCC}" destId="{36E59C7B-7F24-468C-8C88-1DD359A8FD38}" srcOrd="2" destOrd="0" presId="urn:microsoft.com/office/officeart/2005/8/layout/hProcess1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037542F-81BB-4D39-944C-A98010E423D2}">
      <dsp:nvSpPr>
        <dsp:cNvPr id="0" name=""/>
        <dsp:cNvSpPr/>
      </dsp:nvSpPr>
      <dsp:spPr>
        <a:xfrm>
          <a:off x="0" y="1063988"/>
          <a:ext cx="10830239" cy="1418651"/>
        </a:xfrm>
        <a:prstGeom prst="notched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638D5BBB-08AC-4000-96D5-9344BA370B54}">
      <dsp:nvSpPr>
        <dsp:cNvPr id="0" name=""/>
        <dsp:cNvSpPr/>
      </dsp:nvSpPr>
      <dsp:spPr>
        <a:xfrm>
          <a:off x="3184" y="0"/>
          <a:ext cx="2221234" cy="141865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99568" numCol="1" spcCol="1270" anchor="b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1400" b="0" kern="1200" dirty="0"/>
            <a:t>listopad 2021. godine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1400" b="1" kern="1200" dirty="0"/>
            <a:t>Javni poziv za iskaz interesa</a:t>
          </a:r>
        </a:p>
      </dsp:txBody>
      <dsp:txXfrm>
        <a:off x="3184" y="0"/>
        <a:ext cx="2221234" cy="1418651"/>
      </dsp:txXfrm>
    </dsp:sp>
    <dsp:sp modelId="{BE88EFC7-6729-4CE9-AA9E-36BC9CA57A2A}">
      <dsp:nvSpPr>
        <dsp:cNvPr id="0" name=""/>
        <dsp:cNvSpPr/>
      </dsp:nvSpPr>
      <dsp:spPr>
        <a:xfrm>
          <a:off x="936470" y="1595983"/>
          <a:ext cx="354662" cy="354662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A6465A2-9079-4ABE-9874-6EB6FFE7CACB}">
      <dsp:nvSpPr>
        <dsp:cNvPr id="0" name=""/>
        <dsp:cNvSpPr/>
      </dsp:nvSpPr>
      <dsp:spPr>
        <a:xfrm>
          <a:off x="2253808" y="2127977"/>
          <a:ext cx="1949308" cy="141865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99568" numCol="1" spcCol="1270" anchor="t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1400" b="0" kern="1200" dirty="0"/>
            <a:t>listopad 2021. godine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1400" b="1" kern="1200" dirty="0"/>
            <a:t>Donošenje </a:t>
          </a:r>
          <a:r>
            <a:rPr lang="pl-PL" sz="1400" b="1" kern="1200" dirty="0"/>
            <a:t>Zakona o izmjenama i dopunama Zakona o obnovi</a:t>
          </a:r>
          <a:endParaRPr lang="hr-HR" sz="1400" b="1" kern="1200" dirty="0"/>
        </a:p>
      </dsp:txBody>
      <dsp:txXfrm>
        <a:off x="2253808" y="2127977"/>
        <a:ext cx="1949308" cy="1418651"/>
      </dsp:txXfrm>
    </dsp:sp>
    <dsp:sp modelId="{47ADA2E3-C5A1-453F-9929-E5DB0FB163EC}">
      <dsp:nvSpPr>
        <dsp:cNvPr id="0" name=""/>
        <dsp:cNvSpPr/>
      </dsp:nvSpPr>
      <dsp:spPr>
        <a:xfrm>
          <a:off x="3051131" y="1595983"/>
          <a:ext cx="354662" cy="354662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D0B5CE25-BCA3-4EA4-849F-CD7E63EDBB92}">
      <dsp:nvSpPr>
        <dsp:cNvPr id="0" name=""/>
        <dsp:cNvSpPr/>
      </dsp:nvSpPr>
      <dsp:spPr>
        <a:xfrm>
          <a:off x="4232506" y="0"/>
          <a:ext cx="1701410" cy="141865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99568" numCol="1" spcCol="1270" anchor="b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1400" b="0" kern="1200" dirty="0"/>
            <a:t>studeni 2021. godine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1400" b="1" kern="1200" dirty="0"/>
            <a:t>Javni poziv za predaju zahtjeva</a:t>
          </a:r>
        </a:p>
      </dsp:txBody>
      <dsp:txXfrm>
        <a:off x="4232506" y="0"/>
        <a:ext cx="1701410" cy="1418651"/>
      </dsp:txXfrm>
    </dsp:sp>
    <dsp:sp modelId="{7C9A5299-CC5F-4D14-B5CE-9E135E7C8C66}">
      <dsp:nvSpPr>
        <dsp:cNvPr id="0" name=""/>
        <dsp:cNvSpPr/>
      </dsp:nvSpPr>
      <dsp:spPr>
        <a:xfrm>
          <a:off x="4905880" y="1595983"/>
          <a:ext cx="354662" cy="354662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6BD0123F-A350-4E4A-B53D-D0A8276FDAED}">
      <dsp:nvSpPr>
        <dsp:cNvPr id="0" name=""/>
        <dsp:cNvSpPr/>
      </dsp:nvSpPr>
      <dsp:spPr>
        <a:xfrm>
          <a:off x="5963306" y="2127977"/>
          <a:ext cx="2049925" cy="141865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99568" numCol="1" spcCol="1270" anchor="t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1400" b="0" kern="1200" dirty="0"/>
            <a:t>studeni 2021. godine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1400" b="1" kern="1200" dirty="0"/>
            <a:t>Objava natječaja za projektiranje i operativnu koordinaciju</a:t>
          </a:r>
        </a:p>
      </dsp:txBody>
      <dsp:txXfrm>
        <a:off x="5963306" y="2127977"/>
        <a:ext cx="2049925" cy="1418651"/>
      </dsp:txXfrm>
    </dsp:sp>
    <dsp:sp modelId="{5073EAD1-E84A-416A-992E-0154D6972046}">
      <dsp:nvSpPr>
        <dsp:cNvPr id="0" name=""/>
        <dsp:cNvSpPr/>
      </dsp:nvSpPr>
      <dsp:spPr>
        <a:xfrm>
          <a:off x="6810937" y="1595983"/>
          <a:ext cx="354662" cy="354662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682C3C7D-3743-40E9-A634-76947B5484C4}">
      <dsp:nvSpPr>
        <dsp:cNvPr id="0" name=""/>
        <dsp:cNvSpPr/>
      </dsp:nvSpPr>
      <dsp:spPr>
        <a:xfrm>
          <a:off x="8042620" y="0"/>
          <a:ext cx="1701410" cy="141865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99568" numCol="1" spcCol="1270" anchor="b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1400" b="0" kern="1200" dirty="0"/>
            <a:t>siječanj 2022. godine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1400" b="1" kern="1200" dirty="0"/>
            <a:t>Početak projektiranja</a:t>
          </a:r>
        </a:p>
      </dsp:txBody>
      <dsp:txXfrm>
        <a:off x="8042620" y="0"/>
        <a:ext cx="1701410" cy="1418651"/>
      </dsp:txXfrm>
    </dsp:sp>
    <dsp:sp modelId="{71554D18-38F8-41E4-A09D-08920F9A709F}">
      <dsp:nvSpPr>
        <dsp:cNvPr id="0" name=""/>
        <dsp:cNvSpPr/>
      </dsp:nvSpPr>
      <dsp:spPr>
        <a:xfrm>
          <a:off x="8715994" y="1595983"/>
          <a:ext cx="354662" cy="354662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037542F-81BB-4D39-944C-A98010E423D2}">
      <dsp:nvSpPr>
        <dsp:cNvPr id="0" name=""/>
        <dsp:cNvSpPr/>
      </dsp:nvSpPr>
      <dsp:spPr>
        <a:xfrm>
          <a:off x="0" y="1311344"/>
          <a:ext cx="10830239" cy="1748459"/>
        </a:xfrm>
        <a:prstGeom prst="notched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638D5BBB-08AC-4000-96D5-9344BA370B54}">
      <dsp:nvSpPr>
        <dsp:cNvPr id="0" name=""/>
        <dsp:cNvSpPr/>
      </dsp:nvSpPr>
      <dsp:spPr>
        <a:xfrm>
          <a:off x="495198" y="0"/>
          <a:ext cx="1378084" cy="174845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85344" bIns="85344" numCol="1" spcCol="1270" anchor="b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1200" b="1" kern="1200" dirty="0"/>
            <a:t>8. travnja 2021. godine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1200" kern="1200" dirty="0"/>
            <a:t>Donošenje Odluke o uvođenju ISO 37001 Sustav upravljanja za suzbijanje podmićivanja</a:t>
          </a:r>
        </a:p>
      </dsp:txBody>
      <dsp:txXfrm>
        <a:off x="495198" y="0"/>
        <a:ext cx="1378084" cy="1748459"/>
      </dsp:txXfrm>
    </dsp:sp>
    <dsp:sp modelId="{BE88EFC7-6729-4CE9-AA9E-36BC9CA57A2A}">
      <dsp:nvSpPr>
        <dsp:cNvPr id="0" name=""/>
        <dsp:cNvSpPr/>
      </dsp:nvSpPr>
      <dsp:spPr>
        <a:xfrm>
          <a:off x="987915" y="1989249"/>
          <a:ext cx="392649" cy="392649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A6465A2-9079-4ABE-9874-6EB6FFE7CACB}">
      <dsp:nvSpPr>
        <dsp:cNvPr id="0" name=""/>
        <dsp:cNvSpPr/>
      </dsp:nvSpPr>
      <dsp:spPr>
        <a:xfrm>
          <a:off x="1892915" y="2622689"/>
          <a:ext cx="1313944" cy="174845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85344" bIns="85344" numCol="1" spcCol="1270" anchor="t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200" b="1" kern="1200" dirty="0"/>
            <a:t>26. do 30. travnja 2021. godine</a:t>
          </a:r>
          <a:endParaRPr lang="hr-HR" sz="1200" b="1" kern="1200" dirty="0"/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1200" kern="1200" dirty="0"/>
            <a:t>Edukacija i certificiranje zaposlenika službe za prevenciju prevara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hr-HR" sz="1200" kern="1200" dirty="0"/>
        </a:p>
      </dsp:txBody>
      <dsp:txXfrm>
        <a:off x="1892915" y="2622689"/>
        <a:ext cx="1313944" cy="1748459"/>
      </dsp:txXfrm>
    </dsp:sp>
    <dsp:sp modelId="{47ADA2E3-C5A1-453F-9929-E5DB0FB163EC}">
      <dsp:nvSpPr>
        <dsp:cNvPr id="0" name=""/>
        <dsp:cNvSpPr/>
      </dsp:nvSpPr>
      <dsp:spPr>
        <a:xfrm>
          <a:off x="2353563" y="1989249"/>
          <a:ext cx="392649" cy="392649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D0B5CE25-BCA3-4EA4-849F-CD7E63EDBB92}">
      <dsp:nvSpPr>
        <dsp:cNvPr id="0" name=""/>
        <dsp:cNvSpPr/>
      </dsp:nvSpPr>
      <dsp:spPr>
        <a:xfrm>
          <a:off x="3226492" y="0"/>
          <a:ext cx="1663889" cy="174845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85344" bIns="85344" numCol="1" spcCol="1270" anchor="b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n-NO" sz="1200" b="1" kern="1200" dirty="0"/>
            <a:t>srpanj i kolovoz 2021. godine</a:t>
          </a:r>
          <a:endParaRPr lang="hr-HR" sz="1200" b="1" kern="1200" dirty="0"/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1200" b="0" kern="1200" dirty="0"/>
            <a:t>P</a:t>
          </a:r>
          <a:r>
            <a:rPr lang="hr-HR" sz="1200" kern="1200" dirty="0"/>
            <a:t>rovedba postupka jednostavne javne nabave za konzultantske usluge ISO:37001</a:t>
          </a:r>
        </a:p>
      </dsp:txBody>
      <dsp:txXfrm>
        <a:off x="3226492" y="0"/>
        <a:ext cx="1663889" cy="1748459"/>
      </dsp:txXfrm>
    </dsp:sp>
    <dsp:sp modelId="{7C9A5299-CC5F-4D14-B5CE-9E135E7C8C66}">
      <dsp:nvSpPr>
        <dsp:cNvPr id="0" name=""/>
        <dsp:cNvSpPr/>
      </dsp:nvSpPr>
      <dsp:spPr>
        <a:xfrm>
          <a:off x="3862112" y="1989249"/>
          <a:ext cx="392649" cy="392649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6BD0123F-A350-4E4A-B53D-D0A8276FDAED}">
      <dsp:nvSpPr>
        <dsp:cNvPr id="0" name=""/>
        <dsp:cNvSpPr/>
      </dsp:nvSpPr>
      <dsp:spPr>
        <a:xfrm>
          <a:off x="4910014" y="2622689"/>
          <a:ext cx="1416836" cy="174845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85344" bIns="85344" numCol="1" spcCol="1270" anchor="t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1200" b="1" kern="1200" dirty="0"/>
            <a:t>listopad 2021. godine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1200" kern="1200" dirty="0"/>
            <a:t> Edukacije zaposlenika</a:t>
          </a:r>
        </a:p>
      </dsp:txBody>
      <dsp:txXfrm>
        <a:off x="4910014" y="2622689"/>
        <a:ext cx="1416836" cy="1748459"/>
      </dsp:txXfrm>
    </dsp:sp>
    <dsp:sp modelId="{5073EAD1-E84A-416A-992E-0154D6972046}">
      <dsp:nvSpPr>
        <dsp:cNvPr id="0" name=""/>
        <dsp:cNvSpPr/>
      </dsp:nvSpPr>
      <dsp:spPr>
        <a:xfrm>
          <a:off x="5422108" y="1989249"/>
          <a:ext cx="392649" cy="392649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5FDE0FDD-0B53-4E32-A309-B0102E4DB2F8}">
      <dsp:nvSpPr>
        <dsp:cNvPr id="0" name=""/>
        <dsp:cNvSpPr/>
      </dsp:nvSpPr>
      <dsp:spPr>
        <a:xfrm>
          <a:off x="6346483" y="0"/>
          <a:ext cx="1594223" cy="174845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85344" bIns="85344" numCol="1" spcCol="1270" anchor="b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1200" b="1" kern="1200" dirty="0"/>
            <a:t>siječanj 2022. godine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1200" kern="1200" dirty="0"/>
            <a:t>Interni audit procesa i sustava u Fondu za obnovu</a:t>
          </a:r>
        </a:p>
      </dsp:txBody>
      <dsp:txXfrm>
        <a:off x="6346483" y="0"/>
        <a:ext cx="1594223" cy="1748459"/>
      </dsp:txXfrm>
    </dsp:sp>
    <dsp:sp modelId="{DF3A2B56-C167-42EC-8FC3-5C83CE9EFA50}">
      <dsp:nvSpPr>
        <dsp:cNvPr id="0" name=""/>
        <dsp:cNvSpPr/>
      </dsp:nvSpPr>
      <dsp:spPr>
        <a:xfrm>
          <a:off x="6947270" y="1989249"/>
          <a:ext cx="392649" cy="392649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D941A0ED-A776-4935-A96C-C443475159F6}">
      <dsp:nvSpPr>
        <dsp:cNvPr id="0" name=""/>
        <dsp:cNvSpPr/>
      </dsp:nvSpPr>
      <dsp:spPr>
        <a:xfrm>
          <a:off x="7960339" y="2622689"/>
          <a:ext cx="1291678" cy="174845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85344" bIns="85344" numCol="1" spcCol="1270" anchor="t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1200" b="1" kern="1200" dirty="0"/>
            <a:t>2022. godina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1200" kern="1200" dirty="0"/>
            <a:t>Certifikacija Fonda za obnovu</a:t>
          </a:r>
        </a:p>
      </dsp:txBody>
      <dsp:txXfrm>
        <a:off x="7960339" y="2622689"/>
        <a:ext cx="1291678" cy="1748459"/>
      </dsp:txXfrm>
    </dsp:sp>
    <dsp:sp modelId="{AB754DAF-120B-413F-9DFD-36F29D3D6DAD}">
      <dsp:nvSpPr>
        <dsp:cNvPr id="0" name=""/>
        <dsp:cNvSpPr/>
      </dsp:nvSpPr>
      <dsp:spPr>
        <a:xfrm>
          <a:off x="8409854" y="1989249"/>
          <a:ext cx="392649" cy="392649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11">
  <dgm:title val=""/>
  <dgm:desc val=""/>
  <dgm:catLst>
    <dgm:cat type="process" pri="8000"/>
    <dgm:cat type="convert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onstrLst>
          <dgm:constr type="w" for="ch" forName="arrow" refType="w"/>
          <dgm:constr type="h" for="ch" forName="arrow" refType="h" fact="0.4"/>
          <dgm:constr type="ctrY" for="ch" forName="arrow" refType="h" fact="0.5"/>
          <dgm:constr type="l" for="ch" forName="arrow"/>
          <dgm:constr type="w" for="ch" forName="points" refType="w" fact="0.9"/>
          <dgm:constr type="h" for="ch" forName="points" refType="h"/>
          <dgm:constr type="t" for="ch" forName="points"/>
          <dgm:constr type="l" for="ch" forName="points"/>
        </dgm:constrLst>
      </dgm:if>
      <dgm:else name="Name3">
        <dgm:constrLst>
          <dgm:constr type="w" for="ch" forName="arrow" refType="w"/>
          <dgm:constr type="h" for="ch" forName="arrow" refType="h" fact="0.4"/>
          <dgm:constr type="ctrY" for="ch" forName="arrow" refType="h" fact="0.5"/>
          <dgm:constr type="r" for="ch" forName="arrow" refType="w"/>
          <dgm:constr type="w" for="ch" forName="points" refType="w" fact="0.9"/>
          <dgm:constr type="h" for="ch" forName="points" refType="h"/>
          <dgm:constr type="t" for="ch" forName="points"/>
          <dgm:constr type="r" for="ch" forName="points" refType="w"/>
        </dgm:constrLst>
      </dgm:else>
    </dgm:choose>
    <dgm:ruleLst/>
    <dgm:layoutNode name="arrow" styleLbl="bgShp">
      <dgm:alg type="sp"/>
      <dgm:choose name="Name4">
        <dgm:if name="Name5" func="var" arg="dir" op="equ" val="norm">
          <dgm:shape xmlns:r="http://schemas.openxmlformats.org/officeDocument/2006/relationships" type="notchedRightArrow" r:blip="">
            <dgm:adjLst/>
          </dgm:shape>
        </dgm:if>
        <dgm:else name="Name6">
          <dgm:shape xmlns:r="http://schemas.openxmlformats.org/officeDocument/2006/relationships" rot="180" type="notchedRightArrow" r:blip="">
            <dgm:adjLst/>
          </dgm:shape>
        </dgm:else>
      </dgm:choose>
      <dgm:presOf/>
      <dgm:constrLst/>
      <dgm:ruleLst/>
    </dgm:layoutNode>
    <dgm:layoutNode name="points">
      <dgm:choose name="Name7">
        <dgm:if name="Name8" func="var" arg="dir" op="equ" val="norm">
          <dgm:alg type="lin">
            <dgm:param type="linDir" val="fromL"/>
          </dgm:alg>
        </dgm:if>
        <dgm:else name="Name9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A" refType="w"/>
        <dgm:constr type="h" for="ch" forName="compositeA" refType="h"/>
        <dgm:constr type="w" for="ch" forName="compositeB" refType="w" refFor="ch" refForName="compositeA" op="equ"/>
        <dgm:constr type="h" for="ch" forName="compositeB" refType="h" refFor="ch" refForName="compositeA" op="equ"/>
        <dgm:constr type="primFontSz" for="des" ptType="node" op="equ" val="65"/>
        <dgm:constr type="w" for="ch" forName="space" refType="w" refFor="ch" refForName="compositeA" op="equ" fact="0.05"/>
      </dgm:constrLst>
      <dgm:ruleLst/>
      <dgm:forEach name="Name10" axis="ch" ptType="node">
        <dgm:choose name="Name11">
          <dgm:if name="Name12" axis="self" ptType="node" func="posOdd" op="equ" val="1">
            <dgm:layoutNode name="compositeA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extA" refType="w"/>
                <dgm:constr type="h" for="ch" forName="textA" refType="h" fact="0.4"/>
                <dgm:constr type="t" for="ch" forName="textA"/>
                <dgm:constr type="l" for="ch" forName="textA"/>
                <dgm:constr type="h" for="ch" forName="circleA" refType="h" fact="0.1"/>
                <dgm:constr type="h" for="ch" forName="circleA" refType="w" op="lte"/>
                <dgm:constr type="w" for="ch" forName="circleA" refType="h" refFor="ch" refForName="circleA" op="equ"/>
                <dgm:constr type="ctrY" for="ch" forName="circleA" refType="h" fact="0.5"/>
                <dgm:constr type="ctrX" for="ch" forName="circleA" refType="w" refFor="ch" refForName="textA" fact="0.5"/>
                <dgm:constr type="w" for="ch" forName="spaceA" refType="w"/>
                <dgm:constr type="h" for="ch" forName="spaceA" refType="h" fact="0.4"/>
                <dgm:constr type="b" for="ch" forName="spaceA" refType="h"/>
                <dgm:constr type="l" for="ch" forName="spaceA"/>
              </dgm:constrLst>
              <dgm:ruleLst/>
              <dgm:layoutNode name="textA" styleLbl="revTx">
                <dgm:varLst>
                  <dgm:bulletEnabled val="1"/>
                </dgm:varLst>
                <dgm:alg type="tx">
                  <dgm:param type="txAnchorVert" val="b"/>
                  <dgm:param type="txAnchorVertCh" val="b"/>
                  <dgm:param type="txAnchorHorzCh" val="ctr"/>
                </dgm:alg>
                <dgm:shape xmlns:r="http://schemas.openxmlformats.org/officeDocument/2006/relationships" type="rect" r:blip="">
                  <dgm:adjLst/>
                </dgm:shape>
                <dgm:presOf axis="desOrSelf" ptType="node"/>
                <dgm:constrLst/>
                <dgm:ruleLst>
                  <dgm:rule type="primFontSz" val="5" fact="NaN" max="NaN"/>
                </dgm:ruleLst>
              </dgm:layoutNode>
              <dgm:layoutNode name="circleA">
                <dgm:alg type="sp"/>
                <dgm:shape xmlns:r="http://schemas.openxmlformats.org/officeDocument/2006/relationships" type="ellipse" r:blip="">
                  <dgm:adjLst/>
                </dgm:shape>
                <dgm:presOf/>
                <dgm:constrLst/>
                <dgm:ruleLst/>
              </dgm:layoutNode>
              <dgm:layoutNode name="spaceA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13">
            <dgm:layoutNode name="compositeB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extB" refType="w"/>
                <dgm:constr type="h" for="ch" forName="textB" refType="h" fact="0.4"/>
                <dgm:constr type="b" for="ch" forName="textB" refType="h"/>
                <dgm:constr type="l" for="ch" forName="textB"/>
                <dgm:constr type="h" for="ch" forName="circleB" refType="h" fact="0.1"/>
                <dgm:constr type="w" for="ch" forName="circleB" refType="h" refFor="ch" refForName="circleB" op="equ"/>
                <dgm:constr type="h" for="ch" forName="circleB" refType="w" op="lte"/>
                <dgm:constr type="ctrY" for="ch" forName="circleB" refType="h" fact="0.5"/>
                <dgm:constr type="ctrX" for="ch" forName="circleB" refType="w" refFor="ch" refForName="textB" fact="0.5"/>
                <dgm:constr type="w" for="ch" forName="spaceB" refType="w"/>
                <dgm:constr type="h" for="ch" forName="spaceB" refType="h" fact="0.4"/>
                <dgm:constr type="t" for="ch" forName="spaceB"/>
                <dgm:constr type="l" for="ch" forName="spaceB"/>
              </dgm:constrLst>
              <dgm:ruleLst/>
              <dgm:layoutNode name="textB" styleLbl="revTx">
                <dgm:varLst>
                  <dgm:bulletEnabled val="1"/>
                </dgm:varLst>
                <dgm:alg type="tx">
                  <dgm:param type="txAnchorVert" val="t"/>
                  <dgm:param type="txAnchorVertCh" val="t"/>
                  <dgm:param type="txAnchorHorzCh" val="ctr"/>
                </dgm:alg>
                <dgm:shape xmlns:r="http://schemas.openxmlformats.org/officeDocument/2006/relationships" type="rect" r:blip="">
                  <dgm:adjLst/>
                </dgm:shape>
                <dgm:presOf axis="desOrSelf" ptType="node"/>
                <dgm:constrLst/>
                <dgm:ruleLst>
                  <dgm:rule type="primFontSz" val="5" fact="NaN" max="NaN"/>
                </dgm:ruleLst>
              </dgm:layoutNode>
              <dgm:layoutNode name="circleB">
                <dgm:alg type="sp"/>
                <dgm:shape xmlns:r="http://schemas.openxmlformats.org/officeDocument/2006/relationships" type="ellipse" r:blip="">
                  <dgm:adjLst/>
                </dgm:shape>
                <dgm:presOf/>
                <dgm:constrLst/>
                <dgm:ruleLst/>
              </dgm:layoutNode>
              <dgm:layoutNode name="spaceB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else>
        </dgm:choose>
        <dgm:forEach name="Name14" axis="followSib" ptType="sibTrans" cnt="1">
          <dgm:layoutNode name="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Process11">
  <dgm:title val=""/>
  <dgm:desc val=""/>
  <dgm:catLst>
    <dgm:cat type="process" pri="8000"/>
    <dgm:cat type="convert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onstrLst>
          <dgm:constr type="w" for="ch" forName="arrow" refType="w"/>
          <dgm:constr type="h" for="ch" forName="arrow" refType="h" fact="0.4"/>
          <dgm:constr type="ctrY" for="ch" forName="arrow" refType="h" fact="0.5"/>
          <dgm:constr type="l" for="ch" forName="arrow"/>
          <dgm:constr type="w" for="ch" forName="points" refType="w" fact="0.9"/>
          <dgm:constr type="h" for="ch" forName="points" refType="h"/>
          <dgm:constr type="t" for="ch" forName="points"/>
          <dgm:constr type="l" for="ch" forName="points"/>
        </dgm:constrLst>
      </dgm:if>
      <dgm:else name="Name3">
        <dgm:constrLst>
          <dgm:constr type="w" for="ch" forName="arrow" refType="w"/>
          <dgm:constr type="h" for="ch" forName="arrow" refType="h" fact="0.4"/>
          <dgm:constr type="ctrY" for="ch" forName="arrow" refType="h" fact="0.5"/>
          <dgm:constr type="r" for="ch" forName="arrow" refType="w"/>
          <dgm:constr type="w" for="ch" forName="points" refType="w" fact="0.9"/>
          <dgm:constr type="h" for="ch" forName="points" refType="h"/>
          <dgm:constr type="t" for="ch" forName="points"/>
          <dgm:constr type="r" for="ch" forName="points" refType="w"/>
        </dgm:constrLst>
      </dgm:else>
    </dgm:choose>
    <dgm:ruleLst/>
    <dgm:layoutNode name="arrow" styleLbl="bgShp">
      <dgm:alg type="sp"/>
      <dgm:choose name="Name4">
        <dgm:if name="Name5" func="var" arg="dir" op="equ" val="norm">
          <dgm:shape xmlns:r="http://schemas.openxmlformats.org/officeDocument/2006/relationships" type="notchedRightArrow" r:blip="">
            <dgm:adjLst/>
          </dgm:shape>
        </dgm:if>
        <dgm:else name="Name6">
          <dgm:shape xmlns:r="http://schemas.openxmlformats.org/officeDocument/2006/relationships" rot="180" type="notchedRightArrow" r:blip="">
            <dgm:adjLst/>
          </dgm:shape>
        </dgm:else>
      </dgm:choose>
      <dgm:presOf/>
      <dgm:constrLst/>
      <dgm:ruleLst/>
    </dgm:layoutNode>
    <dgm:layoutNode name="points">
      <dgm:choose name="Name7">
        <dgm:if name="Name8" func="var" arg="dir" op="equ" val="norm">
          <dgm:alg type="lin">
            <dgm:param type="linDir" val="fromL"/>
          </dgm:alg>
        </dgm:if>
        <dgm:else name="Name9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A" refType="w"/>
        <dgm:constr type="h" for="ch" forName="compositeA" refType="h"/>
        <dgm:constr type="w" for="ch" forName="compositeB" refType="w" refFor="ch" refForName="compositeA" op="equ"/>
        <dgm:constr type="h" for="ch" forName="compositeB" refType="h" refFor="ch" refForName="compositeA" op="equ"/>
        <dgm:constr type="primFontSz" for="des" ptType="node" op="equ" val="65"/>
        <dgm:constr type="w" for="ch" forName="space" refType="w" refFor="ch" refForName="compositeA" op="equ" fact="0.05"/>
      </dgm:constrLst>
      <dgm:ruleLst/>
      <dgm:forEach name="Name10" axis="ch" ptType="node">
        <dgm:choose name="Name11">
          <dgm:if name="Name12" axis="self" ptType="node" func="posOdd" op="equ" val="1">
            <dgm:layoutNode name="compositeA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extA" refType="w"/>
                <dgm:constr type="h" for="ch" forName="textA" refType="h" fact="0.4"/>
                <dgm:constr type="t" for="ch" forName="textA"/>
                <dgm:constr type="l" for="ch" forName="textA"/>
                <dgm:constr type="h" for="ch" forName="circleA" refType="h" fact="0.1"/>
                <dgm:constr type="h" for="ch" forName="circleA" refType="w" op="lte"/>
                <dgm:constr type="w" for="ch" forName="circleA" refType="h" refFor="ch" refForName="circleA" op="equ"/>
                <dgm:constr type="ctrY" for="ch" forName="circleA" refType="h" fact="0.5"/>
                <dgm:constr type="ctrX" for="ch" forName="circleA" refType="w" refFor="ch" refForName="textA" fact="0.5"/>
                <dgm:constr type="w" for="ch" forName="spaceA" refType="w"/>
                <dgm:constr type="h" for="ch" forName="spaceA" refType="h" fact="0.4"/>
                <dgm:constr type="b" for="ch" forName="spaceA" refType="h"/>
                <dgm:constr type="l" for="ch" forName="spaceA"/>
              </dgm:constrLst>
              <dgm:ruleLst/>
              <dgm:layoutNode name="textA" styleLbl="revTx">
                <dgm:varLst>
                  <dgm:bulletEnabled val="1"/>
                </dgm:varLst>
                <dgm:alg type="tx">
                  <dgm:param type="txAnchorVert" val="b"/>
                  <dgm:param type="txAnchorVertCh" val="b"/>
                  <dgm:param type="txAnchorHorzCh" val="ctr"/>
                </dgm:alg>
                <dgm:shape xmlns:r="http://schemas.openxmlformats.org/officeDocument/2006/relationships" type="rect" r:blip="">
                  <dgm:adjLst/>
                </dgm:shape>
                <dgm:presOf axis="desOrSelf" ptType="node"/>
                <dgm:constrLst/>
                <dgm:ruleLst>
                  <dgm:rule type="primFontSz" val="5" fact="NaN" max="NaN"/>
                </dgm:ruleLst>
              </dgm:layoutNode>
              <dgm:layoutNode name="circleA">
                <dgm:alg type="sp"/>
                <dgm:shape xmlns:r="http://schemas.openxmlformats.org/officeDocument/2006/relationships" type="ellipse" r:blip="">
                  <dgm:adjLst/>
                </dgm:shape>
                <dgm:presOf/>
                <dgm:constrLst/>
                <dgm:ruleLst/>
              </dgm:layoutNode>
              <dgm:layoutNode name="spaceA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13">
            <dgm:layoutNode name="compositeB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extB" refType="w"/>
                <dgm:constr type="h" for="ch" forName="textB" refType="h" fact="0.4"/>
                <dgm:constr type="b" for="ch" forName="textB" refType="h"/>
                <dgm:constr type="l" for="ch" forName="textB"/>
                <dgm:constr type="h" for="ch" forName="circleB" refType="h" fact="0.1"/>
                <dgm:constr type="w" for="ch" forName="circleB" refType="h" refFor="ch" refForName="circleB" op="equ"/>
                <dgm:constr type="h" for="ch" forName="circleB" refType="w" op="lte"/>
                <dgm:constr type="ctrY" for="ch" forName="circleB" refType="h" fact="0.5"/>
                <dgm:constr type="ctrX" for="ch" forName="circleB" refType="w" refFor="ch" refForName="textB" fact="0.5"/>
                <dgm:constr type="w" for="ch" forName="spaceB" refType="w"/>
                <dgm:constr type="h" for="ch" forName="spaceB" refType="h" fact="0.4"/>
                <dgm:constr type="t" for="ch" forName="spaceB"/>
                <dgm:constr type="l" for="ch" forName="spaceB"/>
              </dgm:constrLst>
              <dgm:ruleLst/>
              <dgm:layoutNode name="textB" styleLbl="revTx">
                <dgm:varLst>
                  <dgm:bulletEnabled val="1"/>
                </dgm:varLst>
                <dgm:alg type="tx">
                  <dgm:param type="txAnchorVert" val="t"/>
                  <dgm:param type="txAnchorVertCh" val="t"/>
                  <dgm:param type="txAnchorHorzCh" val="ctr"/>
                </dgm:alg>
                <dgm:shape xmlns:r="http://schemas.openxmlformats.org/officeDocument/2006/relationships" type="rect" r:blip="">
                  <dgm:adjLst/>
                </dgm:shape>
                <dgm:presOf axis="desOrSelf" ptType="node"/>
                <dgm:constrLst/>
                <dgm:ruleLst>
                  <dgm:rule type="primFontSz" val="5" fact="NaN" max="NaN"/>
                </dgm:ruleLst>
              </dgm:layoutNode>
              <dgm:layoutNode name="circleB">
                <dgm:alg type="sp"/>
                <dgm:shape xmlns:r="http://schemas.openxmlformats.org/officeDocument/2006/relationships" type="ellipse" r:blip="">
                  <dgm:adjLst/>
                </dgm:shape>
                <dgm:presOf/>
                <dgm:constrLst/>
                <dgm:ruleLst/>
              </dgm:layoutNode>
              <dgm:layoutNode name="spaceB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else>
        </dgm:choose>
        <dgm:forEach name="Name14" axis="followSib" ptType="sibTrans" cnt="1">
          <dgm:layoutNode name="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7345</cdr:x>
      <cdr:y>0.0289</cdr:y>
    </cdr:from>
    <cdr:to>
      <cdr:x>0.7345</cdr:x>
      <cdr:y>0.86837</cdr:y>
    </cdr:to>
    <cdr:cxnSp macro="">
      <cdr:nvCxnSpPr>
        <cdr:cNvPr id="3" name="Straight Connector 2">
          <a:extLst xmlns:a="http://schemas.openxmlformats.org/drawingml/2006/main">
            <a:ext uri="{FF2B5EF4-FFF2-40B4-BE49-F238E27FC236}">
              <a16:creationId xmlns:a16="http://schemas.microsoft.com/office/drawing/2014/main" id="{6324332A-9969-4960-9603-71587A3D0974}"/>
            </a:ext>
          </a:extLst>
        </cdr:cNvPr>
        <cdr:cNvCxnSpPr/>
      </cdr:nvCxnSpPr>
      <cdr:spPr>
        <a:xfrm xmlns:a="http://schemas.openxmlformats.org/drawingml/2006/main">
          <a:off x="7876239" y="127579"/>
          <a:ext cx="0" cy="3706213"/>
        </a:xfrm>
        <a:prstGeom xmlns:a="http://schemas.openxmlformats.org/drawingml/2006/main" prst="line">
          <a:avLst/>
        </a:prstGeom>
        <a:ln xmlns:a="http://schemas.openxmlformats.org/drawingml/2006/main" w="57150"/>
      </cdr:spPr>
      <cdr:style>
        <a:lnRef xmlns:a="http://schemas.openxmlformats.org/drawingml/2006/main" idx="1">
          <a:schemeClr val="accent2"/>
        </a:lnRef>
        <a:fillRef xmlns:a="http://schemas.openxmlformats.org/drawingml/2006/main" idx="0">
          <a:schemeClr val="accent2"/>
        </a:fillRef>
        <a:effectRef xmlns:a="http://schemas.openxmlformats.org/drawingml/2006/main" idx="0">
          <a:schemeClr val="accent2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75407</cdr:x>
      <cdr:y>0.03634</cdr:y>
    </cdr:from>
    <cdr:to>
      <cdr:x>0.84459</cdr:x>
      <cdr:y>0.07153</cdr:y>
    </cdr:to>
    <cdr:sp macro="" textlink="">
      <cdr:nvSpPr>
        <cdr:cNvPr id="2" name="Arrow: Right 1">
          <a:extLst xmlns:a="http://schemas.openxmlformats.org/drawingml/2006/main">
            <a:ext uri="{FF2B5EF4-FFF2-40B4-BE49-F238E27FC236}">
              <a16:creationId xmlns:a16="http://schemas.microsoft.com/office/drawing/2014/main" id="{F24A9C66-3374-4DA5-BE13-A177F5A8B441}"/>
            </a:ext>
          </a:extLst>
        </cdr:cNvPr>
        <cdr:cNvSpPr/>
      </cdr:nvSpPr>
      <cdr:spPr>
        <a:xfrm xmlns:a="http://schemas.openxmlformats.org/drawingml/2006/main">
          <a:off x="8086082" y="160460"/>
          <a:ext cx="970671" cy="155337"/>
        </a:xfrm>
        <a:prstGeom xmlns:a="http://schemas.openxmlformats.org/drawingml/2006/main" prst="rightArrow">
          <a:avLst/>
        </a:prstGeom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sr-Latn-RS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hr-H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CCC9F2D-D411-4E88-A90F-F848A5DC3E04}" type="datetimeFigureOut">
              <a:rPr lang="hr-HR" smtClean="0"/>
              <a:t>4.2.2022.</a:t>
            </a:fld>
            <a:endParaRPr lang="hr-H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hr-H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r-H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hr-H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F489FA4-3973-4075-A55A-F06B34AA9B44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5758474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489FA4-3973-4075-A55A-F06B34AA9B44}" type="slidenum">
              <a:rPr lang="hr-HR" smtClean="0"/>
              <a:t>2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388457253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489FA4-3973-4075-A55A-F06B34AA9B44}" type="slidenum">
              <a:rPr lang="hr-HR" smtClean="0"/>
              <a:t>12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274824260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489FA4-3973-4075-A55A-F06B34AA9B44}" type="slidenum">
              <a:rPr lang="hr-HR" smtClean="0"/>
              <a:t>13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300669869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489FA4-3973-4075-A55A-F06B34AA9B44}" type="slidenum">
              <a:rPr lang="hr-HR" smtClean="0"/>
              <a:t>14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25054649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489FA4-3973-4075-A55A-F06B34AA9B44}" type="slidenum">
              <a:rPr lang="hr-HR" smtClean="0"/>
              <a:t>21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78576648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489FA4-3973-4075-A55A-F06B34AA9B44}" type="slidenum">
              <a:rPr lang="hr-HR" smtClean="0"/>
              <a:t>22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38564887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489FA4-3973-4075-A55A-F06B34AA9B44}" type="slidenum">
              <a:rPr lang="hr-HR" smtClean="0"/>
              <a:t>3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23692831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489FA4-3973-4075-A55A-F06B34AA9B44}" type="slidenum">
              <a:rPr lang="hr-HR" smtClean="0"/>
              <a:t>4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19356237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489FA4-3973-4075-A55A-F06B34AA9B44}" type="slidenum">
              <a:rPr lang="hr-HR" smtClean="0"/>
              <a:t>5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226449986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489FA4-3973-4075-A55A-F06B34AA9B44}" type="slidenum">
              <a:rPr lang="hr-HR" smtClean="0"/>
              <a:t>6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374199099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489FA4-3973-4075-A55A-F06B34AA9B44}" type="slidenum">
              <a:rPr lang="hr-HR" smtClean="0"/>
              <a:t>7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185187537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489FA4-3973-4075-A55A-F06B34AA9B44}" type="slidenum">
              <a:rPr lang="hr-HR" smtClean="0"/>
              <a:t>8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274294436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489FA4-3973-4075-A55A-F06B34AA9B44}" type="slidenum">
              <a:rPr lang="hr-HR" smtClean="0"/>
              <a:t>9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102081593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489FA4-3973-4075-A55A-F06B34AA9B44}" type="slidenum">
              <a:rPr lang="hr-HR" smtClean="0"/>
              <a:t>10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25477088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C0E9EC-2639-3746-B101-2C200995181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hr-HR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894BFE2-BD9C-4845-B5AA-F5D2766E252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hr-H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534241-4D33-0B4F-961D-9E45B8AE9E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59CA35-E680-438D-B4B9-491A9ACE044E}" type="datetime1">
              <a:rPr lang="hr-HR" smtClean="0"/>
              <a:t>4.2.2022.</a:t>
            </a:fld>
            <a:endParaRPr lang="hr-H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AE7E99-3F37-274C-8DEB-12C445ABB9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2D4AD52-B06F-3B4D-B01F-331CA6453C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2E2A02-C0F9-B34B-A9CA-09BF5C033E13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279819283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B38F61-3E7D-824E-AE15-C05F5A1709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hr-HR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C782D4D-2B03-074A-BD14-C782A0327E7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hr-H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303575-9371-CC4E-81B1-8AEDC54E78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E22BE3-B2B1-4241-8D00-ADDAB1768C41}" type="datetime1">
              <a:rPr lang="hr-HR" smtClean="0"/>
              <a:t>4.2.2022.</a:t>
            </a:fld>
            <a:endParaRPr lang="hr-H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DA712F6-9B58-0940-B51A-893D4FF169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27F25C2-5B65-C843-A567-5DF5E791EB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2E2A02-C0F9-B34B-A9CA-09BF5C033E13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381500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2AF21C4-1F3C-8547-A503-1D9DC470980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hr-HR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3D9D264-E757-1943-ADA9-4B7D532B988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hr-H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02083DF-FA94-6641-AEE1-0AEDA81EB9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CB871-9A45-4569-8FC8-DB89E31D7799}" type="datetime1">
              <a:rPr lang="hr-HR" smtClean="0"/>
              <a:t>4.2.2022.</a:t>
            </a:fld>
            <a:endParaRPr lang="hr-H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4A48794-2789-DA42-B681-0C47111984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F6028D-6423-E24D-8AE8-12AF8C5349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2E2A02-C0F9-B34B-A9CA-09BF5C033E13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358418148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EB54CB-5736-2741-A8D4-148F47397E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hr-H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BC61224-965F-9C48-BD07-8DF3A55D95D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hr-H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DF75B8B-0CC6-A84D-BBB2-3BF0CBEA1C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B97FF3-4529-48EB-975A-3CCF0200C187}" type="datetime1">
              <a:rPr lang="hr-HR" smtClean="0"/>
              <a:t>4.2.2022.</a:t>
            </a:fld>
            <a:endParaRPr lang="hr-H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735DCAB-87C5-AD4F-9218-4F011054C4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2FBCA68-D115-8F4F-A8A6-C3706AC721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2E2A02-C0F9-B34B-A9CA-09BF5C033E13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5587403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B2EB2C-6D13-B844-AB4A-8093FB9BD2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hr-H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754833D-E803-D145-8D49-0CA49876DC3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03CC1A9-8B5C-A044-B2DA-89951BEFFD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351136-7760-4FC7-8194-7B55128ED2D4}" type="datetime1">
              <a:rPr lang="hr-HR" smtClean="0"/>
              <a:t>4.2.2022.</a:t>
            </a:fld>
            <a:endParaRPr lang="hr-H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4C9C89-DBCD-1348-8A5F-2EEE8C24C6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792076A-AAD7-9346-949E-150C0B6C71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2E2A02-C0F9-B34B-A9CA-09BF5C033E13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27059173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2FA51D-51E3-7C48-83FF-99A182AB32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hr-H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015B205-2A42-FB46-9C73-9E8B4B419CC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hr-HR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CB6B2E9-320F-DC48-AA7D-D98DE635679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hr-HR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5BA2EB0-19AC-D54C-85FC-4AB435C8E6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99A46C-5919-40A6-B177-AFA144997948}" type="datetime1">
              <a:rPr lang="hr-HR" smtClean="0"/>
              <a:t>4.2.2022.</a:t>
            </a:fld>
            <a:endParaRPr lang="hr-H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CA30BCF-4008-F24D-8AA7-DF6828A2C1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83A072A-1B82-2F45-A003-5925B8E053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2E2A02-C0F9-B34B-A9CA-09BF5C033E13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18762107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7E792C-DC91-0249-B6E7-C882634851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hr-H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6F27A43-C10C-6C48-876B-1F03C7FE52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477961E-0F28-C245-BF40-2C777DB5B92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hr-HR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CE57AF2-C0EB-A840-8219-DD068E33370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2EF5B52-C2E1-9E46-B4AE-A42DB003DF9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hr-HR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BEE94F1-F225-574A-B612-340D7A2B13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FB6167-7C1B-4343-AB09-3C74F4851954}" type="datetime1">
              <a:rPr lang="hr-HR" smtClean="0"/>
              <a:t>4.2.2022.</a:t>
            </a:fld>
            <a:endParaRPr lang="hr-HR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A203CC5-8B99-BE41-AE0F-1E0C368A58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8B8D63F-3B66-2C45-8150-40425AE043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2E2A02-C0F9-B34B-A9CA-09BF5C033E13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177121421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399E6F-C766-4C49-8683-6866693C6A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hr-HR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ADD8E62-43E0-BA4E-8EC4-C7805B5EB1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8F7EAC-D1F8-4ACB-8CE2-8FEB78C892B2}" type="datetime1">
              <a:rPr lang="hr-HR" smtClean="0"/>
              <a:t>4.2.2022.</a:t>
            </a:fld>
            <a:endParaRPr lang="hr-HR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AF36E6A-7585-C145-8A36-9CBF0D2395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0378748-2E6B-B045-A503-F62A38D531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2E2A02-C0F9-B34B-A9CA-09BF5C033E13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26205784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EC46113-3795-5F4A-AD35-FB3E0C61E8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94A7D-DF5B-4FBF-B2B6-5B2415A5CCC9}" type="datetime1">
              <a:rPr lang="hr-HR" smtClean="0"/>
              <a:t>4.2.2022.</a:t>
            </a:fld>
            <a:endParaRPr lang="hr-HR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A2A5CE5-2CDD-0849-913B-6D93D1F5B1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52C1415-13C3-7844-A6E3-ED60F7F477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2E2A02-C0F9-B34B-A9CA-09BF5C033E13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7233531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585A96-07F1-A44D-8134-9AC3F61C7A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hr-H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18BA827-FE52-2048-8ED2-2DC46C181EA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hr-HR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EA6F433-8D1F-4C4A-94E0-E797A7D93AE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FA80B01-B0C0-8948-B7EE-3F360F1261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039730-D301-4093-8CE6-69966EBC3902}" type="datetime1">
              <a:rPr lang="hr-HR" smtClean="0"/>
              <a:t>4.2.2022.</a:t>
            </a:fld>
            <a:endParaRPr lang="hr-H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4014763-283E-9A4F-B4FC-522334D9FF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23A7EEF-8B61-6E41-9D14-9050F527B6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2E2A02-C0F9-B34B-A9CA-09BF5C033E13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373394959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051355-CAA0-444B-B4D5-55766ED920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hr-HR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F0B56FB-FC56-7841-A280-623AE428901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hr-HR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EB52C4F-E513-D04C-A07C-119FA79D669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ADE8810-0585-BF42-B337-90F52D1B79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D7BB7F-0792-404C-BE5E-FD4C36B2BD60}" type="datetime1">
              <a:rPr lang="hr-HR" smtClean="0"/>
              <a:t>4.2.2022.</a:t>
            </a:fld>
            <a:endParaRPr lang="hr-H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8ADF28-E713-144A-93DB-CF08423E4B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BD2FBF5-E0A4-D040-8230-C6040B718E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2E2A02-C0F9-B34B-A9CA-09BF5C033E13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20309057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626955DA-4B46-4CAB-BD2D-175DD383A8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9703479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Slide" r:id="rId15" imgW="360" imgH="360" progId="TCLayout.ActiveDocument.1">
                  <p:embed/>
                </p:oleObj>
              </mc:Choice>
              <mc:Fallback>
                <p:oleObj name="think-cell Slide" r:id="rId15" imgW="360" imgH="36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626955DA-4B46-4CAB-BD2D-175DD383A8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6C1C786-2AA0-3E47-AE90-47E75532E6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hr-H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EC7B7B5-42A0-604A-AC58-54C2A1E59B2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hr-H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B3B91C9-3108-D243-AA3E-78D9AB87CFD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DEA0CF4-8B5A-4B68-A588-39783E5C0A6B}" type="datetime1">
              <a:rPr lang="hr-HR" smtClean="0"/>
              <a:t>4.2.2022.</a:t>
            </a:fld>
            <a:endParaRPr lang="hr-H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44B9445-6A2D-5C43-929E-5F22BBBB19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hr-H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6257F83-8189-1C41-8B2B-E49E310FA7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2E2A02-C0F9-B34B-A9CA-09BF5C033E13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17920669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x-non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.xml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png"/><Relationship Id="rId12" Type="http://schemas.microsoft.com/office/2007/relationships/diagramDrawing" Target="../diagrams/drawing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11" Type="http://schemas.openxmlformats.org/officeDocument/2006/relationships/diagramColors" Target="../diagrams/colors1.xml"/><Relationship Id="rId5" Type="http://schemas.openxmlformats.org/officeDocument/2006/relationships/oleObject" Target="../embeddings/oleObject13.bin"/><Relationship Id="rId10" Type="http://schemas.openxmlformats.org/officeDocument/2006/relationships/diagramQuickStyle" Target="../diagrams/quickStyle1.xml"/><Relationship Id="rId4" Type="http://schemas.openxmlformats.org/officeDocument/2006/relationships/notesSlide" Target="../notesSlides/notesSlide10.xml"/><Relationship Id="rId9" Type="http://schemas.openxmlformats.org/officeDocument/2006/relationships/diagramLayout" Target="../diagrams/layout1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11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fzo.hr/pages/informacije-za-javnost-dokumenti-za-javnost" TargetMode="External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1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7.xml"/><Relationship Id="rId3" Type="http://schemas.openxmlformats.org/officeDocument/2006/relationships/slideLayout" Target="../slideLayouts/slideLayout2.xml"/><Relationship Id="rId7" Type="http://schemas.openxmlformats.org/officeDocument/2006/relationships/chart" Target="../charts/chart6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chart" Target="../charts/chart8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chart" Target="../charts/chart9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fzo.hr/pages/informacije-za-javnost-dokumenti-za-javnost" TargetMode="External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png"/><Relationship Id="rId12" Type="http://schemas.openxmlformats.org/officeDocument/2006/relationships/hyperlink" Target="https://www.fzo.hr/pages/prijava-nepravilnosti" TargetMode="Externa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11" Type="http://schemas.openxmlformats.org/officeDocument/2006/relationships/hyperlink" Target="https://www.fzo.hr/pages/javna-nabava-postupci" TargetMode="External"/><Relationship Id="rId5" Type="http://schemas.openxmlformats.org/officeDocument/2006/relationships/oleObject" Target="../embeddings/oleObject3.bin"/><Relationship Id="rId10" Type="http://schemas.openxmlformats.org/officeDocument/2006/relationships/hyperlink" Target="https://www.fzo.hr/pages/informacije-za-javnost-pracenje-provedbe-obnove" TargetMode="External"/><Relationship Id="rId4" Type="http://schemas.openxmlformats.org/officeDocument/2006/relationships/notesSlide" Target="../notesSlides/notesSlide1.xml"/><Relationship Id="rId9" Type="http://schemas.openxmlformats.org/officeDocument/2006/relationships/hyperlink" Target="https://www.arcgis.com/apps/dashboards/5386adfba20a40859b7457d25e1e1481" TargetMode="Externa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chart" Target="../charts/chart10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png"/><Relationship Id="rId12" Type="http://schemas.microsoft.com/office/2007/relationships/diagramDrawing" Target="../diagrams/drawing2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11" Type="http://schemas.openxmlformats.org/officeDocument/2006/relationships/diagramColors" Target="../diagrams/colors2.xml"/><Relationship Id="rId5" Type="http://schemas.openxmlformats.org/officeDocument/2006/relationships/oleObject" Target="../embeddings/oleObject22.bin"/><Relationship Id="rId10" Type="http://schemas.openxmlformats.org/officeDocument/2006/relationships/diagramQuickStyle" Target="../diagrams/quickStyle2.xml"/><Relationship Id="rId4" Type="http://schemas.openxmlformats.org/officeDocument/2006/relationships/notesSlide" Target="../notesSlides/notesSlide13.xml"/><Relationship Id="rId9" Type="http://schemas.openxmlformats.org/officeDocument/2006/relationships/diagramLayout" Target="../diagrams/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png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1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.xml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7.xml"/><Relationship Id="rId9" Type="http://schemas.openxmlformats.org/officeDocument/2006/relationships/chart" Target="../charts/char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A77C0939-98F4-462A-A825-BF9DA9B3F8E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92182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A77C0939-98F4-462A-A825-BF9DA9B3F8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3886848-1287-8C4D-9FB2-8706860C50E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54037" y="2740649"/>
            <a:ext cx="10283927" cy="3260656"/>
          </a:xfrm>
        </p:spPr>
        <p:txBody>
          <a:bodyPr vert="horz">
            <a:normAutofit/>
          </a:bodyPr>
          <a:lstStyle/>
          <a:p>
            <a:pPr algn="l"/>
            <a:r>
              <a:rPr lang="hr-HR" sz="18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ND ZA OBNOVU </a:t>
            </a:r>
            <a:br>
              <a:rPr lang="hr-HR" sz="18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hr-HR" sz="18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ADA ZAGREBA, KRAPINSKO-ZAGORSKE ŽUPANIJE I ZAGREBAČKE ŽUPANIJE</a:t>
            </a:r>
            <a:br>
              <a:rPr lang="hr-HR" sz="18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hr-HR" sz="18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hr-HR" sz="40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hr-HR" sz="40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jesečno izvješće – siječanj 2022.</a:t>
            </a:r>
            <a:br>
              <a:rPr lang="hr-HR" sz="40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hr-HR" sz="40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hr-HR" sz="16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Zagreb, 31. siječnja 2022. godine</a:t>
            </a:r>
            <a:br>
              <a:rPr lang="hr-HR" sz="16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hr-HR" sz="16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. d. Ravnatelja, Snežana Penović</a:t>
            </a:r>
          </a:p>
        </p:txBody>
      </p:sp>
      <p:pic>
        <p:nvPicPr>
          <p:cNvPr id="5" name="Slika 4">
            <a:extLst>
              <a:ext uri="{FF2B5EF4-FFF2-40B4-BE49-F238E27FC236}">
                <a16:creationId xmlns:a16="http://schemas.microsoft.com/office/drawing/2014/main" id="{E9BAC308-91D7-4FEA-8B97-CC0F091F671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3610" y="775913"/>
            <a:ext cx="3096624" cy="2239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384091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C914FAA-0421-443B-BE81-8D534ED4F5D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C914FAA-0421-443B-BE81-8D534ED4F5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Slika 3">
            <a:extLst>
              <a:ext uri="{FF2B5EF4-FFF2-40B4-BE49-F238E27FC236}">
                <a16:creationId xmlns:a16="http://schemas.microsoft.com/office/drawing/2014/main" id="{5D968E74-F8FD-42BA-AAB2-1EA106274FE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741079" y="234566"/>
            <a:ext cx="1219200" cy="881909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DBB683BC-C3A5-47BE-A1C8-25DD5474C519}"/>
              </a:ext>
            </a:extLst>
          </p:cNvPr>
          <p:cNvSpPr txBox="1">
            <a:spLocks/>
          </p:cNvSpPr>
          <p:nvPr/>
        </p:nvSpPr>
        <p:spPr>
          <a:xfrm>
            <a:off x="627400" y="509341"/>
            <a:ext cx="11457633" cy="49665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r-HR" sz="24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nd za obnovu - Izvršenje privremenih odluka i zaključak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B74E1E2-4BF3-49AF-8C2E-0DF2313EEE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2E2A02-C0F9-B34B-A9CA-09BF5C033E13}" type="slidenum">
              <a:rPr lang="hr-HR" smtClean="0"/>
              <a:t>10</a:t>
            </a:fld>
            <a:endParaRPr lang="hr-HR"/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992AA06-953B-4F5B-971F-8C9C8020B2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61843748"/>
              </p:ext>
            </p:extLst>
          </p:nvPr>
        </p:nvGraphicFramePr>
        <p:xfrm>
          <a:off x="734360" y="1602181"/>
          <a:ext cx="10616318" cy="4202310"/>
        </p:xfrm>
        <a:graphic>
          <a:graphicData uri="http://schemas.openxmlformats.org/drawingml/2006/table">
            <a:tbl>
              <a:tblPr>
                <a:tableStyleId>{D113A9D2-9D6B-4929-AA2D-F23B5EE8CBE7}</a:tableStyleId>
              </a:tblPr>
              <a:tblGrid>
                <a:gridCol w="6860887">
                  <a:extLst>
                    <a:ext uri="{9D8B030D-6E8A-4147-A177-3AD203B41FA5}">
                      <a16:colId xmlns:a16="http://schemas.microsoft.com/office/drawing/2014/main" val="1271066916"/>
                    </a:ext>
                  </a:extLst>
                </a:gridCol>
                <a:gridCol w="1408287">
                  <a:extLst>
                    <a:ext uri="{9D8B030D-6E8A-4147-A177-3AD203B41FA5}">
                      <a16:colId xmlns:a16="http://schemas.microsoft.com/office/drawing/2014/main" val="1583128027"/>
                    </a:ext>
                  </a:extLst>
                </a:gridCol>
                <a:gridCol w="1408287">
                  <a:extLst>
                    <a:ext uri="{9D8B030D-6E8A-4147-A177-3AD203B41FA5}">
                      <a16:colId xmlns:a16="http://schemas.microsoft.com/office/drawing/2014/main" val="3213846968"/>
                    </a:ext>
                  </a:extLst>
                </a:gridCol>
                <a:gridCol w="938857">
                  <a:extLst>
                    <a:ext uri="{9D8B030D-6E8A-4147-A177-3AD203B41FA5}">
                      <a16:colId xmlns:a16="http://schemas.microsoft.com/office/drawing/2014/main" val="1586231901"/>
                    </a:ext>
                  </a:extLst>
                </a:gridCol>
              </a:tblGrid>
              <a:tr h="984917"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800" u="none" strike="noStrike" dirty="0">
                          <a:effectLst/>
                        </a:rPr>
                        <a:t>AKTI PO TIPU</a:t>
                      </a:r>
                      <a:endParaRPr lang="hr-HR" sz="18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800" u="none" strike="noStrike" dirty="0">
                          <a:effectLst/>
                        </a:rPr>
                        <a:t>PRIVREMENE ODLUKE I ZAKLJUČCI</a:t>
                      </a:r>
                      <a:endParaRPr lang="hr-HR" sz="18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800" u="none" strike="noStrike" dirty="0">
                          <a:effectLst/>
                        </a:rPr>
                        <a:t>AKT IZVRŠEN</a:t>
                      </a:r>
                      <a:endParaRPr lang="hr-HR" sz="18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800" u="none" strike="noStrike" dirty="0">
                          <a:effectLst/>
                        </a:rPr>
                        <a:t>UDIO</a:t>
                      </a:r>
                      <a:endParaRPr lang="hr-HR" sz="18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7757034"/>
                  </a:ext>
                </a:extLst>
              </a:tr>
              <a:tr h="375206">
                <a:tc>
                  <a:txBody>
                    <a:bodyPr/>
                    <a:lstStyle/>
                    <a:p>
                      <a:pPr marL="108000" algn="l" fontAlgn="ctr"/>
                      <a:r>
                        <a:rPr lang="pl-PL" sz="1800" u="none" strike="noStrike" dirty="0">
                          <a:effectLst/>
                        </a:rPr>
                        <a:t>Obnova postojeće potresom oštećene obiteljske kuće</a:t>
                      </a:r>
                      <a:endParaRPr lang="pl-PL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8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88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8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8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4,9%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539368714"/>
                  </a:ext>
                </a:extLst>
              </a:tr>
              <a:tr h="375206">
                <a:tc>
                  <a:txBody>
                    <a:bodyPr/>
                    <a:lstStyle/>
                    <a:p>
                      <a:pPr marL="108000" algn="l" fontAlgn="ctr"/>
                      <a:r>
                        <a:rPr lang="hr-HR" sz="1800" u="none" strike="noStrike" dirty="0">
                          <a:effectLst/>
                        </a:rPr>
                        <a:t>Obnova postojeće potresom oštećene višestambene zgrade</a:t>
                      </a:r>
                      <a:endParaRPr lang="hr-HR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8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8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8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44,3%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850774123"/>
                  </a:ext>
                </a:extLst>
              </a:tr>
              <a:tr h="375206">
                <a:tc>
                  <a:txBody>
                    <a:bodyPr/>
                    <a:lstStyle/>
                    <a:p>
                      <a:pPr marL="108000" algn="l" fontAlgn="ctr"/>
                      <a:r>
                        <a:rPr lang="hr-HR" sz="1800" u="none" strike="noStrike" dirty="0">
                          <a:effectLst/>
                        </a:rPr>
                        <a:t>Obnova postojeće potresom oštećene stambeno-poslovne zgrade</a:t>
                      </a:r>
                      <a:endParaRPr lang="hr-HR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8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8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8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26,7%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657576606"/>
                  </a:ext>
                </a:extLst>
              </a:tr>
              <a:tr h="375206">
                <a:tc>
                  <a:txBody>
                    <a:bodyPr/>
                    <a:lstStyle/>
                    <a:p>
                      <a:pPr marL="108000" algn="l" fontAlgn="ctr"/>
                      <a:r>
                        <a:rPr lang="it-IT" sz="1800" u="none" strike="noStrike" dirty="0">
                          <a:effectLst/>
                        </a:rPr>
                        <a:t>Obnova </a:t>
                      </a:r>
                      <a:r>
                        <a:rPr lang="hr-HR" sz="1800" u="none" strike="noStrike" noProof="0" dirty="0">
                          <a:effectLst/>
                        </a:rPr>
                        <a:t>postojeće potresom oštećene poslovne zgrade</a:t>
                      </a:r>
                      <a:endParaRPr lang="hr-HR" sz="1800" b="0" i="0" u="none" strike="noStrike" noProof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8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8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8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50,0%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31999693"/>
                  </a:ext>
                </a:extLst>
              </a:tr>
              <a:tr h="375206">
                <a:tc>
                  <a:txBody>
                    <a:bodyPr/>
                    <a:lstStyle/>
                    <a:p>
                      <a:pPr marL="108000" algn="l" fontAlgn="ctr"/>
                      <a:r>
                        <a:rPr lang="hr-HR" sz="1800" u="none" strike="noStrike" dirty="0">
                          <a:effectLst/>
                        </a:rPr>
                        <a:t>Uklanjanje postojeće obiteljske kuće </a:t>
                      </a:r>
                      <a:endParaRPr lang="hr-HR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800" b="0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8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8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78,4%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837630855"/>
                  </a:ext>
                </a:extLst>
              </a:tr>
              <a:tr h="375206">
                <a:tc>
                  <a:txBody>
                    <a:bodyPr/>
                    <a:lstStyle/>
                    <a:p>
                      <a:pPr marL="108000" algn="l" fontAlgn="ctr"/>
                      <a:r>
                        <a:rPr lang="hr-HR" sz="1800" u="none" strike="noStrike" dirty="0">
                          <a:effectLst/>
                        </a:rPr>
                        <a:t>Uklanjanje postojeće stambeno-poslovne zgrade </a:t>
                      </a:r>
                      <a:endParaRPr lang="hr-HR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800" u="none" strike="noStrike" dirty="0">
                          <a:effectLst/>
                        </a:rPr>
                        <a:t>1</a:t>
                      </a:r>
                      <a:endParaRPr lang="hr-HR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800" u="none" strike="noStrike" dirty="0">
                          <a:effectLst/>
                        </a:rPr>
                        <a:t>1</a:t>
                      </a:r>
                      <a:endParaRPr lang="hr-HR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800" u="none" strike="noStrike" dirty="0">
                          <a:effectLst/>
                        </a:rPr>
                        <a:t>100,0%</a:t>
                      </a:r>
                      <a:endParaRPr lang="hr-HR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174272310"/>
                  </a:ext>
                </a:extLst>
              </a:tr>
              <a:tr h="375206">
                <a:tc>
                  <a:txBody>
                    <a:bodyPr/>
                    <a:lstStyle/>
                    <a:p>
                      <a:pPr marL="108000" algn="l" fontAlgn="ctr"/>
                      <a:r>
                        <a:rPr lang="hr-HR" sz="1800" u="none" strike="noStrike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ovčana pomoć za privremenu zaštitu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800" u="none" strike="noStrike" dirty="0">
                          <a:effectLst/>
                        </a:rPr>
                        <a:t>56</a:t>
                      </a:r>
                      <a:endParaRPr lang="hr-HR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800" u="none" strike="noStrike" dirty="0">
                          <a:effectLst/>
                        </a:rPr>
                        <a:t>55</a:t>
                      </a:r>
                      <a:endParaRPr lang="hr-HR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800" u="none" strike="noStrike" dirty="0">
                          <a:effectLst/>
                        </a:rPr>
                        <a:t>98,2%</a:t>
                      </a:r>
                      <a:endParaRPr lang="hr-HR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523592178"/>
                  </a:ext>
                </a:extLst>
              </a:tr>
              <a:tr h="590951">
                <a:tc>
                  <a:txBody>
                    <a:bodyPr/>
                    <a:lstStyle/>
                    <a:p>
                      <a:pPr marL="108000" algn="l" fontAlgn="ctr"/>
                      <a:r>
                        <a:rPr lang="hr-HR" sz="1800" u="none" strike="noStrike" dirty="0">
                          <a:effectLst/>
                        </a:rPr>
                        <a:t>UKUPNO AKATA</a:t>
                      </a:r>
                      <a:endParaRPr lang="hr-HR" sz="18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800" u="none" strike="noStrike" dirty="0">
                          <a:effectLst/>
                        </a:rPr>
                        <a:t>383</a:t>
                      </a:r>
                      <a:endParaRPr lang="hr-HR" sz="18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8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60</a:t>
                      </a:r>
                    </a:p>
                  </a:txBody>
                  <a:tcPr marL="0" marR="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800" u="none" strike="noStrike" dirty="0">
                          <a:effectLst/>
                        </a:rPr>
                        <a:t>42%</a:t>
                      </a:r>
                      <a:endParaRPr lang="hr-HR" sz="18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8917632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5695859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A30140B-D282-44D6-8F67-F54483F0BA7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3A30140B-D282-44D6-8F67-F54483F0B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Slika 3">
            <a:extLst>
              <a:ext uri="{FF2B5EF4-FFF2-40B4-BE49-F238E27FC236}">
                <a16:creationId xmlns:a16="http://schemas.microsoft.com/office/drawing/2014/main" id="{5E592373-6DD2-48CA-B201-5D1BDD56C72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741079" y="234566"/>
            <a:ext cx="1219200" cy="881909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705F78B2-3CBE-4161-8D43-93CC5B55ED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0386" y="342732"/>
            <a:ext cx="10149042" cy="586841"/>
          </a:xfrm>
        </p:spPr>
        <p:txBody>
          <a:bodyPr vert="horz">
            <a:noAutofit/>
          </a:bodyPr>
          <a:lstStyle/>
          <a:p>
            <a:r>
              <a:rPr lang="hr-HR" sz="28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gled broja i statusa potrebnih aktivnosti za izvršenje zaprimljenih 1.570 akat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EE17B5-C438-4A0C-8A9F-45EC8496D3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2E2A02-C0F9-B34B-A9CA-09BF5C033E13}" type="slidenum">
              <a:rPr lang="hr-HR" smtClean="0"/>
              <a:t>11</a:t>
            </a:fld>
            <a:endParaRPr lang="hr-HR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105F58AB-A90F-4656-A1F2-E8B8A19D581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80913566"/>
              </p:ext>
            </p:extLst>
          </p:nvPr>
        </p:nvGraphicFramePr>
        <p:xfrm>
          <a:off x="670386" y="1295035"/>
          <a:ext cx="10533231" cy="4695853"/>
        </p:xfrm>
        <a:graphic>
          <a:graphicData uri="http://schemas.openxmlformats.org/drawingml/2006/table">
            <a:tbl>
              <a:tblPr>
                <a:tableStyleId>{D113A9D2-9D6B-4929-AA2D-F23B5EE8CBE7}</a:tableStyleId>
              </a:tblPr>
              <a:tblGrid>
                <a:gridCol w="2965461">
                  <a:extLst>
                    <a:ext uri="{9D8B030D-6E8A-4147-A177-3AD203B41FA5}">
                      <a16:colId xmlns:a16="http://schemas.microsoft.com/office/drawing/2014/main" val="2520465720"/>
                    </a:ext>
                  </a:extLst>
                </a:gridCol>
                <a:gridCol w="1261295">
                  <a:extLst>
                    <a:ext uri="{9D8B030D-6E8A-4147-A177-3AD203B41FA5}">
                      <a16:colId xmlns:a16="http://schemas.microsoft.com/office/drawing/2014/main" val="190625552"/>
                    </a:ext>
                  </a:extLst>
                </a:gridCol>
                <a:gridCol w="1261295">
                  <a:extLst>
                    <a:ext uri="{9D8B030D-6E8A-4147-A177-3AD203B41FA5}">
                      <a16:colId xmlns:a16="http://schemas.microsoft.com/office/drawing/2014/main" val="2854695133"/>
                    </a:ext>
                  </a:extLst>
                </a:gridCol>
                <a:gridCol w="1261295">
                  <a:extLst>
                    <a:ext uri="{9D8B030D-6E8A-4147-A177-3AD203B41FA5}">
                      <a16:colId xmlns:a16="http://schemas.microsoft.com/office/drawing/2014/main" val="550991006"/>
                    </a:ext>
                  </a:extLst>
                </a:gridCol>
                <a:gridCol w="1261295">
                  <a:extLst>
                    <a:ext uri="{9D8B030D-6E8A-4147-A177-3AD203B41FA5}">
                      <a16:colId xmlns:a16="http://schemas.microsoft.com/office/drawing/2014/main" val="12879442"/>
                    </a:ext>
                  </a:extLst>
                </a:gridCol>
                <a:gridCol w="1261295">
                  <a:extLst>
                    <a:ext uri="{9D8B030D-6E8A-4147-A177-3AD203B41FA5}">
                      <a16:colId xmlns:a16="http://schemas.microsoft.com/office/drawing/2014/main" val="1079991042"/>
                    </a:ext>
                  </a:extLst>
                </a:gridCol>
                <a:gridCol w="1261295">
                  <a:extLst>
                    <a:ext uri="{9D8B030D-6E8A-4147-A177-3AD203B41FA5}">
                      <a16:colId xmlns:a16="http://schemas.microsoft.com/office/drawing/2014/main" val="376884479"/>
                    </a:ext>
                  </a:extLst>
                </a:gridCol>
              </a:tblGrid>
              <a:tr h="100625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VRSTA AKTIVNOSTI</a:t>
                      </a:r>
                      <a:endParaRPr lang="en-US" sz="14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BROJ POTREBNIH  AKTIVNOSTI</a:t>
                      </a:r>
                      <a:endParaRPr lang="en-US" sz="14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AKTIVNOST IZVRSENA</a:t>
                      </a:r>
                      <a:endParaRPr lang="en-US" sz="14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AKTIVNOST U TIJEKU / UGOVORENO</a:t>
                      </a:r>
                      <a:endParaRPr lang="en-US" sz="14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NABAVA U TIJEKU</a:t>
                      </a:r>
                      <a:endParaRPr lang="en-US" sz="14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U OBRADI</a:t>
                      </a:r>
                      <a:endParaRPr lang="en-US" sz="14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PONISTENO</a:t>
                      </a:r>
                      <a:endParaRPr lang="en-US" sz="14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4165619"/>
                  </a:ext>
                </a:extLst>
              </a:tr>
              <a:tr h="335418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en-US" sz="1400" u="none" strike="noStrike" dirty="0">
                          <a:effectLst/>
                        </a:rPr>
                        <a:t>OPERATIVNI KOORDINATOR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757330019"/>
                  </a:ext>
                </a:extLst>
              </a:tr>
              <a:tr h="335418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en-US" sz="1400" u="none" strike="noStrike" dirty="0">
                          <a:effectLst/>
                        </a:rPr>
                        <a:t>PROJEKTANT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933474867"/>
                  </a:ext>
                </a:extLst>
              </a:tr>
              <a:tr h="335418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en-US" sz="1400" u="none" strike="noStrike" dirty="0">
                          <a:effectLst/>
                        </a:rPr>
                        <a:t>REVIDENT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40130219"/>
                  </a:ext>
                </a:extLst>
              </a:tr>
              <a:tr h="335418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en-US" sz="1400" u="none" strike="noStrike" dirty="0">
                          <a:effectLst/>
                        </a:rPr>
                        <a:t>TEH.-FIN. KONTROLA PROJEKATA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91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85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858963457"/>
                  </a:ext>
                </a:extLst>
              </a:tr>
              <a:tr h="335418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en-US" sz="1400" u="none" strike="noStrike" dirty="0">
                          <a:effectLst/>
                        </a:rPr>
                        <a:t>STRUČNI NADZOR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4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3468067"/>
                  </a:ext>
                </a:extLst>
              </a:tr>
              <a:tr h="335418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en-US" sz="1400" u="none" strike="noStrike" dirty="0">
                          <a:effectLst/>
                        </a:rPr>
                        <a:t>IZVOĐENJE RADOVA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4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4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222352390"/>
                  </a:ext>
                </a:extLst>
              </a:tr>
              <a:tr h="335418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en-US" sz="1400" u="none" strike="noStrike" dirty="0">
                          <a:effectLst/>
                        </a:rPr>
                        <a:t>USLUGE VJEŠTAKA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4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4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4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004699826"/>
                  </a:ext>
                </a:extLst>
              </a:tr>
              <a:tr h="335418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en-US" sz="1400" u="none" strike="noStrike" dirty="0">
                          <a:effectLst/>
                        </a:rPr>
                        <a:t>OVLAŠTENI INŽENJER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377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5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27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4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4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830009795"/>
                  </a:ext>
                </a:extLst>
              </a:tr>
              <a:tr h="335418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en-US" sz="1400" u="none" strike="noStrike" dirty="0">
                          <a:effectLst/>
                        </a:rPr>
                        <a:t>ISPLATA NOVČANE NAKNADE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023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023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4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4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4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4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543492852"/>
                  </a:ext>
                </a:extLst>
              </a:tr>
              <a:tr h="335418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en-US" sz="1400" u="none" strike="noStrike" dirty="0">
                          <a:effectLst/>
                        </a:rPr>
                        <a:t>UKUPAN BROJ AKTIVNOSTI</a:t>
                      </a:r>
                      <a:endParaRPr lang="en-US" sz="14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046</a:t>
                      </a:r>
                    </a:p>
                  </a:txBody>
                  <a:tcPr marL="0" marR="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308</a:t>
                      </a:r>
                    </a:p>
                  </a:txBody>
                  <a:tcPr marL="0" marR="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84</a:t>
                      </a:r>
                    </a:p>
                  </a:txBody>
                  <a:tcPr marL="0" marR="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72</a:t>
                      </a:r>
                    </a:p>
                  </a:txBody>
                  <a:tcPr marL="0" marR="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67</a:t>
                      </a:r>
                    </a:p>
                  </a:txBody>
                  <a:tcPr marL="0" marR="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0" marR="0" marT="0" marB="0" anchor="ctr"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7587891"/>
                  </a:ext>
                </a:extLst>
              </a:tr>
              <a:tr h="335418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en-US" sz="1400" u="none" strike="noStrike" dirty="0">
                          <a:effectLst/>
                        </a:rPr>
                        <a:t>UDIO U UKUPNOM BROJU AKTIVNOSTI</a:t>
                      </a:r>
                      <a:endParaRPr lang="en-US" sz="14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4%</a:t>
                      </a:r>
                    </a:p>
                  </a:txBody>
                  <a:tcPr marL="0" marR="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4%</a:t>
                      </a:r>
                    </a:p>
                  </a:txBody>
                  <a:tcPr marL="0" marR="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8%</a:t>
                      </a:r>
                    </a:p>
                  </a:txBody>
                  <a:tcPr marL="0" marR="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3%</a:t>
                      </a:r>
                    </a:p>
                  </a:txBody>
                  <a:tcPr marL="0" marR="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%</a:t>
                      </a:r>
                    </a:p>
                  </a:txBody>
                  <a:tcPr marL="0" marR="0" marT="0" marB="0" anchor="ctr"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97365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3937066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4788EE03-D3E6-4F15-932C-C63B8D7B98D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9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4788EE03-D3E6-4F15-932C-C63B8D7B98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">
            <a:extLst>
              <a:ext uri="{FF2B5EF4-FFF2-40B4-BE49-F238E27FC236}">
                <a16:creationId xmlns:a16="http://schemas.microsoft.com/office/drawing/2014/main" id="{EFA5486D-B8B6-4B41-ABB4-441B9C11DE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8640" y="158332"/>
            <a:ext cx="9754654" cy="1325563"/>
          </a:xfrm>
        </p:spPr>
        <p:txBody>
          <a:bodyPr vert="horz">
            <a:noAutofit/>
          </a:bodyPr>
          <a:lstStyle/>
          <a:p>
            <a:pPr algn="just"/>
            <a:r>
              <a:rPr lang="hr-HR" sz="28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ganizirana obnova </a:t>
            </a:r>
            <a:r>
              <a:rPr lang="hr-HR" sz="2800" b="1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konstrukcijskih</a:t>
            </a:r>
            <a:r>
              <a:rPr lang="hr-HR" sz="28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lemenata višestambenih zgrada, stambeno-poslovnih zgrada, poslovnih zgrada i obiteljskih kuća</a:t>
            </a:r>
          </a:p>
        </p:txBody>
      </p:sp>
      <p:pic>
        <p:nvPicPr>
          <p:cNvPr id="7" name="Slika 3">
            <a:extLst>
              <a:ext uri="{FF2B5EF4-FFF2-40B4-BE49-F238E27FC236}">
                <a16:creationId xmlns:a16="http://schemas.microsoft.com/office/drawing/2014/main" id="{37ED52FE-5B57-472A-BF64-83D9CEFEDFF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741079" y="234566"/>
            <a:ext cx="1219200" cy="881909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E2D5BD6-F27A-4D4E-9E2B-EA55150524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2E2A02-C0F9-B34B-A9CA-09BF5C033E13}" type="slidenum">
              <a:rPr lang="hr-HR" smtClean="0"/>
              <a:t>12</a:t>
            </a:fld>
            <a:endParaRPr lang="hr-HR"/>
          </a:p>
        </p:txBody>
      </p:sp>
      <p:graphicFrame>
        <p:nvGraphicFramePr>
          <p:cNvPr id="10" name="Diagram 9">
            <a:extLst>
              <a:ext uri="{FF2B5EF4-FFF2-40B4-BE49-F238E27FC236}">
                <a16:creationId xmlns:a16="http://schemas.microsoft.com/office/drawing/2014/main" id="{0ACADC09-D3FB-40D9-A483-C90ABACAB3F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36292344"/>
              </p:ext>
            </p:extLst>
          </p:nvPr>
        </p:nvGraphicFramePr>
        <p:xfrm>
          <a:off x="680880" y="2213630"/>
          <a:ext cx="10830240" cy="354662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</p:spTree>
    <p:extLst>
      <p:ext uri="{BB962C8B-B14F-4D97-AF65-F5344CB8AC3E}">
        <p14:creationId xmlns:p14="http://schemas.microsoft.com/office/powerpoint/2010/main" val="3086357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C914FAA-0421-443B-BE81-8D534ED4F5D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06506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C914FAA-0421-443B-BE81-8D534ED4F5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itle 1">
            <a:extLst>
              <a:ext uri="{FF2B5EF4-FFF2-40B4-BE49-F238E27FC236}">
                <a16:creationId xmlns:a16="http://schemas.microsoft.com/office/drawing/2014/main" id="{DBB683BC-C3A5-47BE-A1C8-25DD5474C519}"/>
              </a:ext>
            </a:extLst>
          </p:cNvPr>
          <p:cNvSpPr txBox="1">
            <a:spLocks/>
          </p:cNvSpPr>
          <p:nvPr/>
        </p:nvSpPr>
        <p:spPr>
          <a:xfrm>
            <a:off x="632691" y="329152"/>
            <a:ext cx="10006719" cy="6414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77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r-HR" sz="36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nova nekonstrukcijskih elemenata – pregled zahtjeva</a:t>
            </a:r>
            <a:endParaRPr lang="hr-HR" sz="36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B74E1E2-4BF3-49AF-8C2E-0DF2313EEE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2E2A02-C0F9-B34B-A9CA-09BF5C033E13}" type="slidenum">
              <a:rPr lang="hr-HR" smtClean="0"/>
              <a:t>13</a:t>
            </a:fld>
            <a:endParaRPr lang="hr-HR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0235A47-4FD0-42AC-A60C-7BBCFF05AC9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37924" y="1032058"/>
            <a:ext cx="10116153" cy="5324291"/>
          </a:xfrm>
          <a:prstGeom prst="rect">
            <a:avLst/>
          </a:prstGeom>
        </p:spPr>
      </p:pic>
      <p:pic>
        <p:nvPicPr>
          <p:cNvPr id="13" name="Slika 3">
            <a:extLst>
              <a:ext uri="{FF2B5EF4-FFF2-40B4-BE49-F238E27FC236}">
                <a16:creationId xmlns:a16="http://schemas.microsoft.com/office/drawing/2014/main" id="{45F79283-FCAF-4E81-B257-3FAD13866B5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639410" y="119629"/>
            <a:ext cx="1219200" cy="8819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307530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C914FAA-0421-443B-BE81-8D534ED4F5D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C914FAA-0421-443B-BE81-8D534ED4F5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itle 1">
            <a:extLst>
              <a:ext uri="{FF2B5EF4-FFF2-40B4-BE49-F238E27FC236}">
                <a16:creationId xmlns:a16="http://schemas.microsoft.com/office/drawing/2014/main" id="{DBB683BC-C3A5-47BE-A1C8-25DD5474C519}"/>
              </a:ext>
            </a:extLst>
          </p:cNvPr>
          <p:cNvSpPr txBox="1">
            <a:spLocks/>
          </p:cNvSpPr>
          <p:nvPr/>
        </p:nvSpPr>
        <p:spPr>
          <a:xfrm>
            <a:off x="420255" y="257706"/>
            <a:ext cx="10006719" cy="6414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r-HR" sz="36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nova nekonstrukcijskih elemenata - zahtjevi</a:t>
            </a:r>
            <a:endParaRPr lang="hr-HR" sz="36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B74E1E2-4BF3-49AF-8C2E-0DF2313EEE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2E2A02-C0F9-B34B-A9CA-09BF5C033E13}" type="slidenum">
              <a:rPr lang="hr-HR" smtClean="0"/>
              <a:t>14</a:t>
            </a:fld>
            <a:endParaRPr lang="hr-HR"/>
          </a:p>
        </p:txBody>
      </p:sp>
      <p:pic>
        <p:nvPicPr>
          <p:cNvPr id="13" name="Slika 3">
            <a:extLst>
              <a:ext uri="{FF2B5EF4-FFF2-40B4-BE49-F238E27FC236}">
                <a16:creationId xmlns:a16="http://schemas.microsoft.com/office/drawing/2014/main" id="{45F79283-FCAF-4E81-B257-3FAD13866B5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972800" y="-1783"/>
            <a:ext cx="1219200" cy="881909"/>
          </a:xfrm>
          <a:prstGeom prst="rect">
            <a:avLst/>
          </a:prstGeom>
        </p:spPr>
      </p:pic>
      <p:grpSp>
        <p:nvGrpSpPr>
          <p:cNvPr id="22" name="Group 21">
            <a:extLst>
              <a:ext uri="{FF2B5EF4-FFF2-40B4-BE49-F238E27FC236}">
                <a16:creationId xmlns:a16="http://schemas.microsoft.com/office/drawing/2014/main" id="{094BB001-11CC-4C42-9C5B-BD20D77460F3}"/>
              </a:ext>
            </a:extLst>
          </p:cNvPr>
          <p:cNvGrpSpPr/>
          <p:nvPr/>
        </p:nvGrpSpPr>
        <p:grpSpPr>
          <a:xfrm>
            <a:off x="6918486" y="5227930"/>
            <a:ext cx="4140000" cy="828000"/>
            <a:chOff x="4477391" y="1350348"/>
            <a:chExt cx="1967216" cy="1691993"/>
          </a:xfrm>
          <a:scene3d>
            <a:camera prst="orthographicFront"/>
            <a:lightRig rig="flat" dir="t"/>
          </a:scene3d>
        </p:grpSpPr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3B6400BF-E0D7-43F1-BF43-24E536BBA8F9}"/>
                </a:ext>
              </a:extLst>
            </p:cNvPr>
            <p:cNvSpPr/>
            <p:nvPr/>
          </p:nvSpPr>
          <p:spPr>
            <a:xfrm>
              <a:off x="4477391" y="1350348"/>
              <a:ext cx="1967216" cy="1691993"/>
            </a:xfrm>
            <a:prstGeom prst="roundRect">
              <a:avLst/>
            </a:prstGeom>
            <a:sp3d prstMaterial="plastic">
              <a:bevelT w="120900" h="88900"/>
              <a:bevelB w="88900" h="31750" prst="angle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anchor="t"/>
            <a:lstStyle/>
            <a:p>
              <a:endParaRPr lang="hr-HR" sz="1600"/>
            </a:p>
          </p:txBody>
        </p:sp>
        <p:sp>
          <p:nvSpPr>
            <p:cNvPr id="24" name="Rectangle: Rounded Corners 4">
              <a:extLst>
                <a:ext uri="{FF2B5EF4-FFF2-40B4-BE49-F238E27FC236}">
                  <a16:creationId xmlns:a16="http://schemas.microsoft.com/office/drawing/2014/main" id="{D49F855C-FDC4-47DE-9D2E-81492732EB6B}"/>
                </a:ext>
              </a:extLst>
            </p:cNvPr>
            <p:cNvSpPr txBox="1"/>
            <p:nvPr/>
          </p:nvSpPr>
          <p:spPr>
            <a:xfrm>
              <a:off x="4559987" y="1432944"/>
              <a:ext cx="1802024" cy="1526801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3340" tIns="53340" rIns="53340" bIns="53340" numCol="1" spcCol="1270" anchor="t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hr-HR" sz="1200" b="1" dirty="0">
                  <a:latin typeface="Arial" panose="020B0604020202020204" pitchFamily="34" charset="0"/>
                  <a:cs typeface="Arial" panose="020B0604020202020204" pitchFamily="34" charset="0"/>
                </a:rPr>
                <a:t>U OBRADI</a:t>
              </a:r>
            </a:p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hr-HR" sz="2400" b="1" kern="1200" dirty="0">
                  <a:latin typeface="Arial" panose="020B0604020202020204" pitchFamily="34" charset="0"/>
                  <a:cs typeface="Arial" panose="020B0604020202020204" pitchFamily="34" charset="0"/>
                </a:rPr>
                <a:t>491</a:t>
              </a:r>
            </a:p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hr-HR" sz="600" b="1" kern="1200" dirty="0"/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D25832F6-94A6-4F21-8354-B6EF235B105F}"/>
              </a:ext>
            </a:extLst>
          </p:cNvPr>
          <p:cNvSpPr txBox="1"/>
          <p:nvPr/>
        </p:nvSpPr>
        <p:spPr>
          <a:xfrm>
            <a:off x="734361" y="6221513"/>
            <a:ext cx="107232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r-HR" sz="1400" dirty="0">
                <a:latin typeface="Arial" panose="020B0604020202020204" pitchFamily="34" charset="0"/>
                <a:cs typeface="Arial" panose="020B0604020202020204" pitchFamily="34" charset="0"/>
              </a:rPr>
              <a:t>Pregled iskaza interesa i zahtjeva dostupan je na: </a:t>
            </a:r>
            <a:r>
              <a:rPr lang="hr-HR" sz="1400" dirty="0">
                <a:latin typeface="Arial" panose="020B0604020202020204" pitchFamily="34" charset="0"/>
                <a:cs typeface="Arial" panose="020B0604020202020204" pitchFamily="34" charset="0"/>
                <a:hlinkClick r:id="rId8"/>
              </a:rPr>
              <a:t>https://www.fzo.hr/pages/informacije-za-javnost-dokumenti-za-javnost</a:t>
            </a:r>
            <a:endParaRPr lang="hr-HR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3D170BE1-C66A-490D-871A-31C80F804820}"/>
              </a:ext>
            </a:extLst>
          </p:cNvPr>
          <p:cNvGrpSpPr/>
          <p:nvPr/>
        </p:nvGrpSpPr>
        <p:grpSpPr>
          <a:xfrm>
            <a:off x="938037" y="3203180"/>
            <a:ext cx="4140000" cy="720000"/>
            <a:chOff x="4477391" y="1350348"/>
            <a:chExt cx="1967216" cy="1691993"/>
          </a:xfrm>
          <a:scene3d>
            <a:camera prst="orthographicFront"/>
            <a:lightRig rig="flat" dir="t"/>
          </a:scene3d>
        </p:grpSpPr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FA351597-1BF3-49CB-A1F7-0D45190F8A41}"/>
                </a:ext>
              </a:extLst>
            </p:cNvPr>
            <p:cNvSpPr/>
            <p:nvPr/>
          </p:nvSpPr>
          <p:spPr>
            <a:xfrm>
              <a:off x="4477391" y="1350348"/>
              <a:ext cx="1967216" cy="1691993"/>
            </a:xfrm>
            <a:prstGeom prst="roundRect">
              <a:avLst/>
            </a:prstGeom>
            <a:sp3d prstMaterial="plastic">
              <a:bevelT w="120900" h="88900"/>
              <a:bevelB w="88900" h="31750" prst="angle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anchor="t"/>
            <a:lstStyle/>
            <a:p>
              <a:endParaRPr lang="hr-HR" sz="1600"/>
            </a:p>
          </p:txBody>
        </p:sp>
        <p:sp>
          <p:nvSpPr>
            <p:cNvPr id="27" name="Rectangle: Rounded Corners 4">
              <a:extLst>
                <a:ext uri="{FF2B5EF4-FFF2-40B4-BE49-F238E27FC236}">
                  <a16:creationId xmlns:a16="http://schemas.microsoft.com/office/drawing/2014/main" id="{E7028AFB-630A-4748-A03D-6BEB1222C9C3}"/>
                </a:ext>
              </a:extLst>
            </p:cNvPr>
            <p:cNvSpPr txBox="1"/>
            <p:nvPr/>
          </p:nvSpPr>
          <p:spPr>
            <a:xfrm>
              <a:off x="4559987" y="1432944"/>
              <a:ext cx="1802024" cy="1526801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3340" tIns="53340" rIns="53340" bIns="53340" numCol="1" spcCol="1270" anchor="t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hr-HR" sz="1200" b="1" dirty="0">
                  <a:latin typeface="Arial" panose="020B0604020202020204" pitchFamily="34" charset="0"/>
                  <a:cs typeface="Arial" panose="020B0604020202020204" pitchFamily="34" charset="0"/>
                </a:rPr>
                <a:t>SVEUKUPNO ZAHTJEVA</a:t>
              </a:r>
            </a:p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hr-HR" sz="2400" b="1" kern="1200" dirty="0">
                  <a:latin typeface="Arial" panose="020B0604020202020204" pitchFamily="34" charset="0"/>
                  <a:cs typeface="Arial" panose="020B0604020202020204" pitchFamily="34" charset="0"/>
                </a:rPr>
                <a:t>1.588</a:t>
              </a:r>
            </a:p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hr-HR" sz="600" b="1" kern="1200" dirty="0"/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130C3766-61D4-4403-B1FF-D2BC5FB5B083}"/>
              </a:ext>
            </a:extLst>
          </p:cNvPr>
          <p:cNvGrpSpPr/>
          <p:nvPr/>
        </p:nvGrpSpPr>
        <p:grpSpPr>
          <a:xfrm>
            <a:off x="6931652" y="1232363"/>
            <a:ext cx="4140000" cy="828000"/>
            <a:chOff x="4477391" y="1350348"/>
            <a:chExt cx="1967216" cy="1691993"/>
          </a:xfrm>
          <a:scene3d>
            <a:camera prst="orthographicFront"/>
            <a:lightRig rig="flat" dir="t"/>
          </a:scene3d>
        </p:grpSpPr>
        <p:sp>
          <p:nvSpPr>
            <p:cNvPr id="29" name="Rectangle: Rounded Corners 28">
              <a:extLst>
                <a:ext uri="{FF2B5EF4-FFF2-40B4-BE49-F238E27FC236}">
                  <a16:creationId xmlns:a16="http://schemas.microsoft.com/office/drawing/2014/main" id="{202D5642-D2A1-4012-BCFF-8FA24882B485}"/>
                </a:ext>
              </a:extLst>
            </p:cNvPr>
            <p:cNvSpPr/>
            <p:nvPr/>
          </p:nvSpPr>
          <p:spPr>
            <a:xfrm>
              <a:off x="4477391" y="1350348"/>
              <a:ext cx="1967216" cy="1691993"/>
            </a:xfrm>
            <a:prstGeom prst="roundRect">
              <a:avLst/>
            </a:prstGeom>
            <a:sp3d prstMaterial="plastic">
              <a:bevelT w="120900" h="88900"/>
              <a:bevelB w="88900" h="31750" prst="angle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anchor="t"/>
            <a:lstStyle/>
            <a:p>
              <a:endParaRPr lang="hr-HR" sz="1600"/>
            </a:p>
          </p:txBody>
        </p:sp>
        <p:sp>
          <p:nvSpPr>
            <p:cNvPr id="30" name="Rectangle: Rounded Corners 4">
              <a:extLst>
                <a:ext uri="{FF2B5EF4-FFF2-40B4-BE49-F238E27FC236}">
                  <a16:creationId xmlns:a16="http://schemas.microsoft.com/office/drawing/2014/main" id="{337AF0D3-6A49-4256-9DB9-2A1393227576}"/>
                </a:ext>
              </a:extLst>
            </p:cNvPr>
            <p:cNvSpPr txBox="1"/>
            <p:nvPr/>
          </p:nvSpPr>
          <p:spPr>
            <a:xfrm>
              <a:off x="4559987" y="1432944"/>
              <a:ext cx="1802024" cy="1526801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3340" tIns="53340" rIns="53340" bIns="53340" numCol="1" spcCol="1270" anchor="t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hr-HR" sz="1200" b="1" dirty="0">
                  <a:latin typeface="Arial" panose="020B0604020202020204" pitchFamily="34" charset="0"/>
                  <a:cs typeface="Arial" panose="020B0604020202020204" pitchFamily="34" charset="0"/>
                </a:rPr>
                <a:t>SKLOPLJENI UGOVORI</a:t>
              </a:r>
            </a:p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hr-HR" sz="2400" b="1" dirty="0">
                  <a:latin typeface="Arial" panose="020B0604020202020204" pitchFamily="34" charset="0"/>
                  <a:cs typeface="Arial" panose="020B0604020202020204" pitchFamily="34" charset="0"/>
                </a:rPr>
                <a:t>404</a:t>
              </a:r>
              <a:endParaRPr lang="hr-HR" sz="2400" b="1" kern="120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hr-HR" sz="600" b="1" kern="1200" dirty="0"/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14B039F9-5C3E-4259-857E-27C37A490C21}"/>
              </a:ext>
            </a:extLst>
          </p:cNvPr>
          <p:cNvGrpSpPr/>
          <p:nvPr/>
        </p:nvGrpSpPr>
        <p:grpSpPr>
          <a:xfrm>
            <a:off x="6925068" y="2209580"/>
            <a:ext cx="4140000" cy="828000"/>
            <a:chOff x="4477391" y="1350348"/>
            <a:chExt cx="1967216" cy="1691993"/>
          </a:xfrm>
          <a:scene3d>
            <a:camera prst="orthographicFront"/>
            <a:lightRig rig="flat" dir="t"/>
          </a:scene3d>
        </p:grpSpPr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33E6085F-7846-4CA4-A524-50F3787D25AA}"/>
                </a:ext>
              </a:extLst>
            </p:cNvPr>
            <p:cNvSpPr/>
            <p:nvPr/>
          </p:nvSpPr>
          <p:spPr>
            <a:xfrm>
              <a:off x="4477391" y="1350348"/>
              <a:ext cx="1967216" cy="1691993"/>
            </a:xfrm>
            <a:prstGeom prst="roundRect">
              <a:avLst/>
            </a:prstGeom>
            <a:sp3d prstMaterial="plastic">
              <a:bevelT w="120900" h="88900"/>
              <a:bevelB w="88900" h="31750" prst="angle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anchor="t"/>
            <a:lstStyle/>
            <a:p>
              <a:endParaRPr lang="hr-HR" sz="1600"/>
            </a:p>
          </p:txBody>
        </p:sp>
        <p:sp>
          <p:nvSpPr>
            <p:cNvPr id="33" name="Rectangle: Rounded Corners 4">
              <a:extLst>
                <a:ext uri="{FF2B5EF4-FFF2-40B4-BE49-F238E27FC236}">
                  <a16:creationId xmlns:a16="http://schemas.microsoft.com/office/drawing/2014/main" id="{82F41B0B-041F-425F-BCAC-A45FD94F79C9}"/>
                </a:ext>
              </a:extLst>
            </p:cNvPr>
            <p:cNvSpPr txBox="1"/>
            <p:nvPr/>
          </p:nvSpPr>
          <p:spPr>
            <a:xfrm>
              <a:off x="4559987" y="1432944"/>
              <a:ext cx="1802024" cy="1526801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3340" tIns="53340" rIns="53340" bIns="53340" numCol="1" spcCol="1270" anchor="t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hr-HR" sz="1200" b="1" dirty="0">
                  <a:latin typeface="Arial" panose="020B0604020202020204" pitchFamily="34" charset="0"/>
                  <a:cs typeface="Arial" panose="020B0604020202020204" pitchFamily="34" charset="0"/>
                </a:rPr>
                <a:t>UGOVOR POTPISAN OD STRANE FONDA</a:t>
              </a:r>
            </a:p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hr-HR" sz="2400" b="1" kern="1200" dirty="0">
                  <a:latin typeface="Arial" panose="020B0604020202020204" pitchFamily="34" charset="0"/>
                  <a:cs typeface="Arial" panose="020B0604020202020204" pitchFamily="34" charset="0"/>
                </a:rPr>
                <a:t>189</a:t>
              </a:r>
            </a:p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hr-HR" sz="600" b="1" kern="1200" dirty="0"/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C522B4F6-AAE3-4F7B-B1D9-AD849B97D9D7}"/>
              </a:ext>
            </a:extLst>
          </p:cNvPr>
          <p:cNvGrpSpPr/>
          <p:nvPr/>
        </p:nvGrpSpPr>
        <p:grpSpPr>
          <a:xfrm>
            <a:off x="6931652" y="3217917"/>
            <a:ext cx="4140000" cy="828000"/>
            <a:chOff x="4477391" y="1350348"/>
            <a:chExt cx="1967216" cy="1691993"/>
          </a:xfrm>
          <a:scene3d>
            <a:camera prst="orthographicFront"/>
            <a:lightRig rig="flat" dir="t"/>
          </a:scene3d>
        </p:grpSpPr>
        <p:sp>
          <p:nvSpPr>
            <p:cNvPr id="35" name="Rectangle: Rounded Corners 34">
              <a:extLst>
                <a:ext uri="{FF2B5EF4-FFF2-40B4-BE49-F238E27FC236}">
                  <a16:creationId xmlns:a16="http://schemas.microsoft.com/office/drawing/2014/main" id="{B241ABDC-06DF-4974-81E6-276A00C69C82}"/>
                </a:ext>
              </a:extLst>
            </p:cNvPr>
            <p:cNvSpPr/>
            <p:nvPr/>
          </p:nvSpPr>
          <p:spPr>
            <a:xfrm>
              <a:off x="4477391" y="1350348"/>
              <a:ext cx="1967216" cy="1691993"/>
            </a:xfrm>
            <a:prstGeom prst="roundRect">
              <a:avLst/>
            </a:prstGeom>
            <a:sp3d prstMaterial="plastic">
              <a:bevelT w="120900" h="88900"/>
              <a:bevelB w="88900" h="31750" prst="angle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anchor="t"/>
            <a:lstStyle/>
            <a:p>
              <a:endParaRPr lang="hr-HR" sz="1600"/>
            </a:p>
          </p:txBody>
        </p:sp>
        <p:sp>
          <p:nvSpPr>
            <p:cNvPr id="36" name="Rectangle: Rounded Corners 4">
              <a:extLst>
                <a:ext uri="{FF2B5EF4-FFF2-40B4-BE49-F238E27FC236}">
                  <a16:creationId xmlns:a16="http://schemas.microsoft.com/office/drawing/2014/main" id="{704AA3C1-DCFA-4A94-AB63-1C5EAC53025D}"/>
                </a:ext>
              </a:extLst>
            </p:cNvPr>
            <p:cNvSpPr txBox="1"/>
            <p:nvPr/>
          </p:nvSpPr>
          <p:spPr>
            <a:xfrm>
              <a:off x="4559987" y="1432944"/>
              <a:ext cx="1802024" cy="1526801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3340" tIns="53340" rIns="53340" bIns="53340" numCol="1" spcCol="1270" anchor="t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hr-HR" sz="1200" b="1" dirty="0">
                  <a:latin typeface="Arial" panose="020B0604020202020204" pitchFamily="34" charset="0"/>
                  <a:cs typeface="Arial" panose="020B0604020202020204" pitchFamily="34" charset="0"/>
                </a:rPr>
                <a:t>POTREBNA DOPUNA OD STRANE PODNOSITELJA</a:t>
              </a:r>
            </a:p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hr-HR" sz="2400" b="1" kern="1200" dirty="0">
                  <a:latin typeface="Arial" panose="020B0604020202020204" pitchFamily="34" charset="0"/>
                  <a:cs typeface="Arial" panose="020B0604020202020204" pitchFamily="34" charset="0"/>
                </a:rPr>
                <a:t>343</a:t>
              </a:r>
            </a:p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hr-HR" sz="600" b="1" kern="1200" dirty="0"/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1FA4AB70-9647-42F6-9DD5-0906753F078C}"/>
              </a:ext>
            </a:extLst>
          </p:cNvPr>
          <p:cNvGrpSpPr/>
          <p:nvPr/>
        </p:nvGrpSpPr>
        <p:grpSpPr>
          <a:xfrm>
            <a:off x="6918486" y="4220838"/>
            <a:ext cx="4140000" cy="828000"/>
            <a:chOff x="4477391" y="1350348"/>
            <a:chExt cx="1967216" cy="1691993"/>
          </a:xfrm>
          <a:scene3d>
            <a:camera prst="orthographicFront"/>
            <a:lightRig rig="flat" dir="t"/>
          </a:scene3d>
        </p:grpSpPr>
        <p:sp>
          <p:nvSpPr>
            <p:cNvPr id="38" name="Rectangle: Rounded Corners 37">
              <a:extLst>
                <a:ext uri="{FF2B5EF4-FFF2-40B4-BE49-F238E27FC236}">
                  <a16:creationId xmlns:a16="http://schemas.microsoft.com/office/drawing/2014/main" id="{B26DF1DB-862F-41DC-BA52-C8B77455941A}"/>
                </a:ext>
              </a:extLst>
            </p:cNvPr>
            <p:cNvSpPr/>
            <p:nvPr/>
          </p:nvSpPr>
          <p:spPr>
            <a:xfrm>
              <a:off x="4477391" y="1350348"/>
              <a:ext cx="1967216" cy="1691993"/>
            </a:xfrm>
            <a:prstGeom prst="roundRect">
              <a:avLst/>
            </a:prstGeom>
            <a:sp3d prstMaterial="plastic">
              <a:bevelT w="120900" h="88900"/>
              <a:bevelB w="88900" h="31750" prst="angle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anchor="t"/>
            <a:lstStyle/>
            <a:p>
              <a:endParaRPr lang="hr-HR" sz="1600"/>
            </a:p>
          </p:txBody>
        </p:sp>
        <p:sp>
          <p:nvSpPr>
            <p:cNvPr id="39" name="Rectangle: Rounded Corners 4">
              <a:extLst>
                <a:ext uri="{FF2B5EF4-FFF2-40B4-BE49-F238E27FC236}">
                  <a16:creationId xmlns:a16="http://schemas.microsoft.com/office/drawing/2014/main" id="{CF937874-4648-410E-94C2-963ABB811F08}"/>
                </a:ext>
              </a:extLst>
            </p:cNvPr>
            <p:cNvSpPr txBox="1"/>
            <p:nvPr/>
          </p:nvSpPr>
          <p:spPr>
            <a:xfrm>
              <a:off x="4559987" y="1432944"/>
              <a:ext cx="1802024" cy="1526801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3340" tIns="53340" rIns="53340" bIns="53340" numCol="1" spcCol="1270" anchor="t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hr-HR" sz="1200" b="1" dirty="0">
                  <a:latin typeface="Arial" panose="020B0604020202020204" pitchFamily="34" charset="0"/>
                  <a:cs typeface="Arial" panose="020B0604020202020204" pitchFamily="34" charset="0"/>
                </a:rPr>
                <a:t>NEMAJU PRAVO NA OBNOVU</a:t>
              </a:r>
            </a:p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hr-HR" sz="2400" b="1" kern="1200" dirty="0">
                  <a:latin typeface="Arial" panose="020B0604020202020204" pitchFamily="34" charset="0"/>
                  <a:cs typeface="Arial" panose="020B0604020202020204" pitchFamily="34" charset="0"/>
                </a:rPr>
                <a:t>161</a:t>
              </a:r>
            </a:p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hr-HR" sz="600" b="1" kern="1200" dirty="0"/>
            </a:p>
          </p:txBody>
        </p:sp>
      </p:grp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6A291755-2925-4D19-BBA1-CC77FE60C7D4}"/>
              </a:ext>
            </a:extLst>
          </p:cNvPr>
          <p:cNvCxnSpPr>
            <a:cxnSpLocks/>
            <a:stCxn id="18" idx="3"/>
            <a:endCxn id="29" idx="1"/>
          </p:cNvCxnSpPr>
          <p:nvPr/>
        </p:nvCxnSpPr>
        <p:spPr>
          <a:xfrm flipV="1">
            <a:off x="5078037" y="1646363"/>
            <a:ext cx="1853615" cy="1916817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2B019ADE-66EE-40F7-ADED-03FE7EA555C9}"/>
              </a:ext>
            </a:extLst>
          </p:cNvPr>
          <p:cNvCxnSpPr>
            <a:cxnSpLocks/>
            <a:stCxn id="18" idx="3"/>
            <a:endCxn id="32" idx="1"/>
          </p:cNvCxnSpPr>
          <p:nvPr/>
        </p:nvCxnSpPr>
        <p:spPr>
          <a:xfrm flipV="1">
            <a:off x="5078037" y="2623580"/>
            <a:ext cx="1847031" cy="93960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3123716B-7FC6-47EA-9926-CE5029CEE995}"/>
              </a:ext>
            </a:extLst>
          </p:cNvPr>
          <p:cNvCxnSpPr>
            <a:cxnSpLocks/>
            <a:stCxn id="18" idx="3"/>
            <a:endCxn id="35" idx="1"/>
          </p:cNvCxnSpPr>
          <p:nvPr/>
        </p:nvCxnSpPr>
        <p:spPr>
          <a:xfrm>
            <a:off x="5078037" y="3563180"/>
            <a:ext cx="1853615" cy="68737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8187B1DB-9744-4171-8FF7-1DDA6000BFCD}"/>
              </a:ext>
            </a:extLst>
          </p:cNvPr>
          <p:cNvCxnSpPr>
            <a:cxnSpLocks/>
            <a:stCxn id="18" idx="3"/>
            <a:endCxn id="38" idx="1"/>
          </p:cNvCxnSpPr>
          <p:nvPr/>
        </p:nvCxnSpPr>
        <p:spPr>
          <a:xfrm>
            <a:off x="5078037" y="3563180"/>
            <a:ext cx="1840449" cy="1071658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1BFDA55F-A0A6-4894-822A-081FD334F03F}"/>
              </a:ext>
            </a:extLst>
          </p:cNvPr>
          <p:cNvCxnSpPr>
            <a:cxnSpLocks/>
            <a:stCxn id="18" idx="3"/>
          </p:cNvCxnSpPr>
          <p:nvPr/>
        </p:nvCxnSpPr>
        <p:spPr>
          <a:xfrm>
            <a:off x="5078037" y="3563180"/>
            <a:ext cx="1840447" cy="2087791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3215037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A30140B-D282-44D6-8F67-F54483F0BA7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3A30140B-D282-44D6-8F67-F54483F0B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Slika 3">
            <a:extLst>
              <a:ext uri="{FF2B5EF4-FFF2-40B4-BE49-F238E27FC236}">
                <a16:creationId xmlns:a16="http://schemas.microsoft.com/office/drawing/2014/main" id="{5E592373-6DD2-48CA-B201-5D1BDD56C72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959897" y="12738"/>
            <a:ext cx="1219200" cy="881909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705F78B2-3CBE-4161-8D43-93CC5B55ED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293" y="12738"/>
            <a:ext cx="10427950" cy="1010599"/>
          </a:xfrm>
        </p:spPr>
        <p:txBody>
          <a:bodyPr vert="horz">
            <a:normAutofit/>
          </a:bodyPr>
          <a:lstStyle/>
          <a:p>
            <a:r>
              <a:rPr lang="pl-PL" sz="32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plate novčanih pomoći za privremenu zaštitu</a:t>
            </a:r>
            <a:endParaRPr lang="hr-HR" sz="32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EE17B5-C438-4A0C-8A9F-45EC8496D3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2E2A02-C0F9-B34B-A9CA-09BF5C033E13}" type="slidenum">
              <a:rPr lang="hr-HR" smtClean="0"/>
              <a:t>15</a:t>
            </a:fld>
            <a:endParaRPr lang="hr-HR" dirty="0"/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26BB7B78-7498-4CE5-96E8-E05DC169D41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64179704"/>
              </p:ext>
            </p:extLst>
          </p:nvPr>
        </p:nvGraphicFramePr>
        <p:xfrm>
          <a:off x="1031728" y="2007086"/>
          <a:ext cx="4320000" cy="43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436FC95F-7271-4493-A807-0CE94D5D103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15527015"/>
              </p:ext>
            </p:extLst>
          </p:nvPr>
        </p:nvGraphicFramePr>
        <p:xfrm>
          <a:off x="6840272" y="1964115"/>
          <a:ext cx="4320000" cy="43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pSp>
        <p:nvGrpSpPr>
          <p:cNvPr id="11" name="Group 10">
            <a:extLst>
              <a:ext uri="{FF2B5EF4-FFF2-40B4-BE49-F238E27FC236}">
                <a16:creationId xmlns:a16="http://schemas.microsoft.com/office/drawing/2014/main" id="{04441599-9BD7-4A7E-AC97-29A29AF54974}"/>
              </a:ext>
            </a:extLst>
          </p:cNvPr>
          <p:cNvGrpSpPr/>
          <p:nvPr/>
        </p:nvGrpSpPr>
        <p:grpSpPr>
          <a:xfrm>
            <a:off x="1031728" y="1023337"/>
            <a:ext cx="4320000" cy="940778"/>
            <a:chOff x="2239653" y="1350348"/>
            <a:chExt cx="1967216" cy="1691993"/>
          </a:xfrm>
          <a:scene3d>
            <a:camera prst="orthographicFront"/>
            <a:lightRig rig="flat" dir="t"/>
          </a:scene3d>
        </p:grpSpPr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0C853B0D-F44C-4E48-9669-BE51410CA1FE}"/>
                </a:ext>
              </a:extLst>
            </p:cNvPr>
            <p:cNvSpPr/>
            <p:nvPr/>
          </p:nvSpPr>
          <p:spPr>
            <a:xfrm>
              <a:off x="2239653" y="1350348"/>
              <a:ext cx="1967216" cy="1691993"/>
            </a:xfrm>
            <a:prstGeom prst="roundRect">
              <a:avLst/>
            </a:prstGeom>
            <a:sp3d prstMaterial="plastic">
              <a:bevelT w="120900" h="88900"/>
              <a:bevelB w="88900" h="31750" prst="angle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3" name="Rectangle: Rounded Corners 4">
              <a:extLst>
                <a:ext uri="{FF2B5EF4-FFF2-40B4-BE49-F238E27FC236}">
                  <a16:creationId xmlns:a16="http://schemas.microsoft.com/office/drawing/2014/main" id="{5061BA4D-F061-490D-9E5F-63DB3FE45C2C}"/>
                </a:ext>
              </a:extLst>
            </p:cNvPr>
            <p:cNvSpPr txBox="1"/>
            <p:nvPr/>
          </p:nvSpPr>
          <p:spPr>
            <a:xfrm>
              <a:off x="2322249" y="1432944"/>
              <a:ext cx="1802024" cy="1526801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3340" tIns="53340" rIns="53340" bIns="53340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pl-PL" sz="1400" b="1" dirty="0">
                  <a:latin typeface="Arial" panose="020B0604020202020204" pitchFamily="34" charset="0"/>
                  <a:cs typeface="Arial" panose="020B0604020202020204" pitchFamily="34" charset="0"/>
                </a:rPr>
                <a:t>UKUPNO ISPLATA</a:t>
              </a:r>
              <a:endParaRPr lang="pl-PL" sz="1400" b="1" kern="120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hr-HR" sz="3200" b="1" dirty="0">
                  <a:latin typeface="Arial" panose="020B0604020202020204" pitchFamily="34" charset="0"/>
                  <a:cs typeface="Arial" panose="020B0604020202020204" pitchFamily="34" charset="0"/>
                </a:rPr>
                <a:t>1.024</a:t>
              </a:r>
              <a:endParaRPr lang="hr-HR" sz="3200" b="1" kern="12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6DD41F1E-0814-4F07-A9CF-ACC4E97254D1}"/>
              </a:ext>
            </a:extLst>
          </p:cNvPr>
          <p:cNvGrpSpPr/>
          <p:nvPr/>
        </p:nvGrpSpPr>
        <p:grpSpPr>
          <a:xfrm>
            <a:off x="6840272" y="1023336"/>
            <a:ext cx="4320000" cy="941967"/>
            <a:chOff x="2239653" y="1350348"/>
            <a:chExt cx="1967216" cy="1691993"/>
          </a:xfrm>
          <a:scene3d>
            <a:camera prst="orthographicFront"/>
            <a:lightRig rig="flat" dir="t"/>
          </a:scene3d>
        </p:grpSpPr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6E0F86F0-266E-406A-8F3E-D24058572471}"/>
                </a:ext>
              </a:extLst>
            </p:cNvPr>
            <p:cNvSpPr/>
            <p:nvPr/>
          </p:nvSpPr>
          <p:spPr>
            <a:xfrm>
              <a:off x="2239653" y="1350348"/>
              <a:ext cx="1967216" cy="1691993"/>
            </a:xfrm>
            <a:prstGeom prst="roundRect">
              <a:avLst/>
            </a:prstGeom>
            <a:sp3d prstMaterial="plastic">
              <a:bevelT w="120900" h="88900"/>
              <a:bevelB w="88900" h="31750" prst="angle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6" name="Rectangle: Rounded Corners 4">
              <a:extLst>
                <a:ext uri="{FF2B5EF4-FFF2-40B4-BE49-F238E27FC236}">
                  <a16:creationId xmlns:a16="http://schemas.microsoft.com/office/drawing/2014/main" id="{1884D4AC-E3DF-4FD2-83BC-20EA32FE0D5C}"/>
                </a:ext>
              </a:extLst>
            </p:cNvPr>
            <p:cNvSpPr txBox="1"/>
            <p:nvPr/>
          </p:nvSpPr>
          <p:spPr>
            <a:xfrm>
              <a:off x="2322249" y="1432944"/>
              <a:ext cx="1802024" cy="1526801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3340" tIns="53340" rIns="53340" bIns="53340" numCol="1" spcCol="1270" anchor="ctr" anchorCtr="0">
              <a:noAutofit/>
            </a:bodyPr>
            <a:lstStyle/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pl-PL" sz="1400" b="1" dirty="0">
                  <a:latin typeface="Arial" panose="020B0604020202020204" pitchFamily="34" charset="0"/>
                  <a:cs typeface="Arial" panose="020B0604020202020204" pitchFamily="34" charset="0"/>
                </a:rPr>
                <a:t>UKUPNO  ISPLAĆENO FZO</a:t>
              </a:r>
              <a:endParaRPr lang="pl-PL" sz="1400" b="1" kern="120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0" lvl="0" indent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hr-HR" sz="3200" b="1" dirty="0">
                  <a:latin typeface="Arial" panose="020B0604020202020204" pitchFamily="34" charset="0"/>
                  <a:cs typeface="Arial" panose="020B0604020202020204" pitchFamily="34" charset="0"/>
                </a:rPr>
                <a:t>   </a:t>
              </a:r>
              <a:r>
                <a:rPr lang="hr-HR" sz="3200" b="1" i="0" u="none" strike="noStrike" dirty="0">
                  <a:solidFill>
                    <a:srgbClr val="FFFFFF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  53.059.718,39 kn </a:t>
              </a:r>
              <a:endParaRPr lang="hr-HR" sz="32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7147022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A30140B-D282-44D6-8F67-F54483F0BA7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3A30140B-D282-44D6-8F67-F54483F0B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Slika 3">
            <a:extLst>
              <a:ext uri="{FF2B5EF4-FFF2-40B4-BE49-F238E27FC236}">
                <a16:creationId xmlns:a16="http://schemas.microsoft.com/office/drawing/2014/main" id="{5E592373-6DD2-48CA-B201-5D1BDD56C72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959897" y="12738"/>
            <a:ext cx="1219200" cy="881909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705F78B2-3CBE-4161-8D43-93CC5B55ED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293" y="12738"/>
            <a:ext cx="10427950" cy="1010599"/>
          </a:xfrm>
        </p:spPr>
        <p:txBody>
          <a:bodyPr vert="horz">
            <a:normAutofit/>
          </a:bodyPr>
          <a:lstStyle/>
          <a:p>
            <a:r>
              <a:rPr lang="pl-PL" sz="32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nsparentnost - Troškovi Fonda za obnovu</a:t>
            </a:r>
            <a:endParaRPr lang="hr-HR" sz="32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EE17B5-C438-4A0C-8A9F-45EC8496D3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2E2A02-C0F9-B34B-A9CA-09BF5C033E13}" type="slidenum">
              <a:rPr lang="hr-HR" smtClean="0"/>
              <a:t>16</a:t>
            </a:fld>
            <a:endParaRPr lang="hr-HR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E16E7FC-0759-4050-8009-FA340E11E07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34501" y="919502"/>
            <a:ext cx="10522998" cy="53081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093675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A30140B-D282-44D6-8F67-F54483F0BA7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3A30140B-D282-44D6-8F67-F54483F0B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Slika 3">
            <a:extLst>
              <a:ext uri="{FF2B5EF4-FFF2-40B4-BE49-F238E27FC236}">
                <a16:creationId xmlns:a16="http://schemas.microsoft.com/office/drawing/2014/main" id="{5E592373-6DD2-48CA-B201-5D1BDD56C72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096967" y="20195"/>
            <a:ext cx="1219200" cy="881909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705F78B2-3CBE-4161-8D43-93CC5B55ED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1809" y="20195"/>
            <a:ext cx="4671447" cy="586841"/>
          </a:xfrm>
        </p:spPr>
        <p:txBody>
          <a:bodyPr vert="horz">
            <a:normAutofit/>
          </a:bodyPr>
          <a:lstStyle/>
          <a:p>
            <a:pPr algn="ctr"/>
            <a:r>
              <a:rPr lang="hr-HR" sz="24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Jednostavna nabav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EE17B5-C438-4A0C-8A9F-45EC8496D3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2E2A02-C0F9-B34B-A9CA-09BF5C033E13}" type="slidenum">
              <a:rPr lang="hr-HR" smtClean="0"/>
              <a:t>17</a:t>
            </a:fld>
            <a:endParaRPr lang="hr-HR"/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B5158B92-2EFA-46F4-84CE-7F9A8DF1FA1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30836225"/>
              </p:ext>
            </p:extLst>
          </p:nvPr>
        </p:nvGraphicFramePr>
        <p:xfrm>
          <a:off x="421809" y="610390"/>
          <a:ext cx="4671447" cy="6002233"/>
        </p:xfrm>
        <a:graphic>
          <a:graphicData uri="http://schemas.openxmlformats.org/drawingml/2006/table">
            <a:tbl>
              <a:tblPr/>
              <a:tblGrid>
                <a:gridCol w="4186204">
                  <a:extLst>
                    <a:ext uri="{9D8B030D-6E8A-4147-A177-3AD203B41FA5}">
                      <a16:colId xmlns:a16="http://schemas.microsoft.com/office/drawing/2014/main" val="962883300"/>
                    </a:ext>
                  </a:extLst>
                </a:gridCol>
                <a:gridCol w="485243">
                  <a:extLst>
                    <a:ext uri="{9D8B030D-6E8A-4147-A177-3AD203B41FA5}">
                      <a16:colId xmlns:a16="http://schemas.microsoft.com/office/drawing/2014/main" val="1737060919"/>
                    </a:ext>
                  </a:extLst>
                </a:gridCol>
              </a:tblGrid>
              <a:tr h="101757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Ukupno</a:t>
                      </a:r>
                    </a:p>
                  </a:txBody>
                  <a:tcPr marL="4846" marR="4846" marT="48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0376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65</a:t>
                      </a:r>
                    </a:p>
                  </a:txBody>
                  <a:tcPr marL="4846" marR="4846" marT="48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0376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4427257"/>
                  </a:ext>
                </a:extLst>
              </a:tr>
              <a:tr h="101757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Direktno preko narudžbenice</a:t>
                      </a:r>
                    </a:p>
                  </a:txBody>
                  <a:tcPr marL="4846" marR="4846" marT="48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0376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4</a:t>
                      </a:r>
                    </a:p>
                  </a:txBody>
                  <a:tcPr marL="4846" marR="4846" marT="48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0376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3548279"/>
                  </a:ext>
                </a:extLst>
              </a:tr>
              <a:tr h="101757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Usluga ovlaštenog inženjera građevinarstva</a:t>
                      </a:r>
                    </a:p>
                  </a:txBody>
                  <a:tcPr marL="4846" marR="4846" marT="48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</a:p>
                  </a:txBody>
                  <a:tcPr marL="4846" marR="4846" marT="48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7577764"/>
                  </a:ext>
                </a:extLst>
              </a:tr>
              <a:tr h="101757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Usluga stalnog sudskog vještaka i ovlaštenog inženjera</a:t>
                      </a:r>
                    </a:p>
                  </a:txBody>
                  <a:tcPr marL="4846" marR="4846" marT="48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8</a:t>
                      </a:r>
                    </a:p>
                  </a:txBody>
                  <a:tcPr marL="4846" marR="4846" marT="48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0391810"/>
                  </a:ext>
                </a:extLst>
              </a:tr>
              <a:tr h="101757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Nabava geotehničkih istraživanja</a:t>
                      </a:r>
                    </a:p>
                  </a:txBody>
                  <a:tcPr marL="4846" marR="4846" marT="48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0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4846" marR="4846" marT="48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3334293"/>
                  </a:ext>
                </a:extLst>
              </a:tr>
              <a:tr h="101757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Usluga ovlaštenih inženjera geodezije</a:t>
                      </a:r>
                    </a:p>
                  </a:txBody>
                  <a:tcPr marL="4846" marR="4846" marT="48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4846" marR="4846" marT="48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9207052"/>
                  </a:ext>
                </a:extLst>
              </a:tr>
              <a:tr h="101757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Objavljeno</a:t>
                      </a:r>
                    </a:p>
                  </a:txBody>
                  <a:tcPr marL="4846" marR="4846" marT="48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0376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0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51</a:t>
                      </a:r>
                    </a:p>
                  </a:txBody>
                  <a:tcPr marL="4846" marR="4846" marT="48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0376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8654678"/>
                  </a:ext>
                </a:extLst>
              </a:tr>
              <a:tr h="101757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travanj</a:t>
                      </a:r>
                    </a:p>
                  </a:txBody>
                  <a:tcPr marL="4846" marR="4846" marT="48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9</a:t>
                      </a:r>
                    </a:p>
                  </a:txBody>
                  <a:tcPr marL="4846" marR="4846" marT="48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52615014"/>
                  </a:ext>
                </a:extLst>
              </a:tr>
              <a:tr h="101757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vibanj</a:t>
                      </a:r>
                    </a:p>
                  </a:txBody>
                  <a:tcPr marL="4846" marR="4846" marT="48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0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80</a:t>
                      </a:r>
                    </a:p>
                  </a:txBody>
                  <a:tcPr marL="4846" marR="4846" marT="48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5973096"/>
                  </a:ext>
                </a:extLst>
              </a:tr>
              <a:tr h="101757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lipanj</a:t>
                      </a:r>
                    </a:p>
                  </a:txBody>
                  <a:tcPr marL="4846" marR="4846" marT="48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3</a:t>
                      </a:r>
                    </a:p>
                  </a:txBody>
                  <a:tcPr marL="4846" marR="4846" marT="48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7922824"/>
                  </a:ext>
                </a:extLst>
              </a:tr>
              <a:tr h="101757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rpanj</a:t>
                      </a:r>
                    </a:p>
                  </a:txBody>
                  <a:tcPr marL="4846" marR="4846" marT="48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0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55</a:t>
                      </a:r>
                    </a:p>
                  </a:txBody>
                  <a:tcPr marL="4846" marR="4846" marT="48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6860400"/>
                  </a:ext>
                </a:extLst>
              </a:tr>
              <a:tr h="101757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kolovoz</a:t>
                      </a:r>
                    </a:p>
                  </a:txBody>
                  <a:tcPr marL="4846" marR="4846" marT="48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1</a:t>
                      </a:r>
                    </a:p>
                  </a:txBody>
                  <a:tcPr marL="4846" marR="4846" marT="48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8094099"/>
                  </a:ext>
                </a:extLst>
              </a:tr>
              <a:tr h="101757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rujan</a:t>
                      </a:r>
                    </a:p>
                  </a:txBody>
                  <a:tcPr marL="4846" marR="4846" marT="48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0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3</a:t>
                      </a:r>
                    </a:p>
                  </a:txBody>
                  <a:tcPr marL="4846" marR="4846" marT="48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6661437"/>
                  </a:ext>
                </a:extLst>
              </a:tr>
              <a:tr h="101757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listopad</a:t>
                      </a:r>
                    </a:p>
                  </a:txBody>
                  <a:tcPr marL="4846" marR="4846" marT="48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</a:p>
                  </a:txBody>
                  <a:tcPr marL="4846" marR="4846" marT="48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8060124"/>
                  </a:ext>
                </a:extLst>
              </a:tr>
              <a:tr h="101757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udeni</a:t>
                      </a:r>
                    </a:p>
                  </a:txBody>
                  <a:tcPr marL="4846" marR="4846" marT="48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4846" marR="4846" marT="48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5618922"/>
                  </a:ext>
                </a:extLst>
              </a:tr>
              <a:tr h="101757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ovedeno</a:t>
                      </a:r>
                    </a:p>
                  </a:txBody>
                  <a:tcPr marL="4846" marR="4846" marT="48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0376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0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50</a:t>
                      </a:r>
                    </a:p>
                  </a:txBody>
                  <a:tcPr marL="4846" marR="4846" marT="48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0376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7588119"/>
                  </a:ext>
                </a:extLst>
              </a:tr>
              <a:tr h="101757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Čekanje ponuda/obrada ponuda</a:t>
                      </a:r>
                    </a:p>
                  </a:txBody>
                  <a:tcPr marL="4846" marR="4846" marT="48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0376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4846" marR="4846" marT="48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0376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1983689"/>
                  </a:ext>
                </a:extLst>
              </a:tr>
              <a:tr h="101757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Odabrano</a:t>
                      </a:r>
                    </a:p>
                  </a:txBody>
                  <a:tcPr marL="4846" marR="4846" marT="48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0376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42</a:t>
                      </a:r>
                    </a:p>
                  </a:txBody>
                  <a:tcPr marL="4846" marR="4846" marT="48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0376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8031734"/>
                  </a:ext>
                </a:extLst>
              </a:tr>
              <a:tr h="101757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Usluge operativne koordinacije</a:t>
                      </a:r>
                    </a:p>
                  </a:txBody>
                  <a:tcPr marL="4846" marR="4846" marT="48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4</a:t>
                      </a:r>
                    </a:p>
                  </a:txBody>
                  <a:tcPr marL="4846" marR="4846" marT="48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5364228"/>
                  </a:ext>
                </a:extLst>
              </a:tr>
              <a:tr h="101757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Usluge tehničko-financijske kontrole</a:t>
                      </a:r>
                    </a:p>
                  </a:txBody>
                  <a:tcPr marL="4846" marR="4846" marT="48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52</a:t>
                      </a:r>
                    </a:p>
                  </a:txBody>
                  <a:tcPr marL="4846" marR="4846" marT="48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818244"/>
                  </a:ext>
                </a:extLst>
              </a:tr>
              <a:tr h="101757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Usluge projektiranja</a:t>
                      </a:r>
                    </a:p>
                  </a:txBody>
                  <a:tcPr marL="4846" marR="4846" marT="48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9</a:t>
                      </a:r>
                    </a:p>
                  </a:txBody>
                  <a:tcPr marL="4846" marR="4846" marT="48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7592978"/>
                  </a:ext>
                </a:extLst>
              </a:tr>
              <a:tr h="117906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zvođenje radova (uklanjanje, obnova i izgradnja zamjenskih obiteljskih kuća)</a:t>
                      </a:r>
                    </a:p>
                  </a:txBody>
                  <a:tcPr marL="4846" marR="4846" marT="48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5</a:t>
                      </a:r>
                    </a:p>
                  </a:txBody>
                  <a:tcPr marL="4846" marR="4846" marT="48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196329"/>
                  </a:ext>
                </a:extLst>
              </a:tr>
              <a:tr h="101757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Usluga stručnog nadzora</a:t>
                      </a:r>
                    </a:p>
                  </a:txBody>
                  <a:tcPr marL="4846" marR="4846" marT="48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7</a:t>
                      </a:r>
                    </a:p>
                  </a:txBody>
                  <a:tcPr marL="4846" marR="4846" marT="48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7017069"/>
                  </a:ext>
                </a:extLst>
              </a:tr>
              <a:tr h="101757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Usluga ovlaštenog inženjera građevinarstva</a:t>
                      </a:r>
                    </a:p>
                  </a:txBody>
                  <a:tcPr marL="4846" marR="4846" marT="48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0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4846" marR="4846" marT="48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5114783"/>
                  </a:ext>
                </a:extLst>
              </a:tr>
              <a:tr h="101757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Usluga stalnog sudskog vještaka i ovlaštenog inženjera</a:t>
                      </a:r>
                    </a:p>
                  </a:txBody>
                  <a:tcPr marL="4846" marR="4846" marT="48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4846" marR="4846" marT="48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8115865"/>
                  </a:ext>
                </a:extLst>
              </a:tr>
              <a:tr h="295581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Usluga stručnog nadzora izvođenja radova podloge, terase i nadstrešnice te postavljanja i spajanja MSJ na komunalnu infrastrukturu</a:t>
                      </a:r>
                    </a:p>
                  </a:txBody>
                  <a:tcPr marL="4846" marR="4846" marT="48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4846" marR="4846" marT="48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403397"/>
                  </a:ext>
                </a:extLst>
              </a:tr>
              <a:tr h="198669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Usluga izrade smjernica za projektiranje novih obiteljskih kuća</a:t>
                      </a:r>
                    </a:p>
                  </a:txBody>
                  <a:tcPr marL="4846" marR="4846" marT="48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4846" marR="4846" marT="48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2470202"/>
                  </a:ext>
                </a:extLst>
              </a:tr>
              <a:tr h="101757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Nabava i najam mobilnih kuća za osiguranje privremenog smještaja</a:t>
                      </a:r>
                    </a:p>
                  </a:txBody>
                  <a:tcPr marL="4846" marR="4846" marT="48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0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4846" marR="4846" marT="48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3245529"/>
                  </a:ext>
                </a:extLst>
              </a:tr>
              <a:tr h="101757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oništeno</a:t>
                      </a:r>
                    </a:p>
                  </a:txBody>
                  <a:tcPr marL="4846" marR="4846" marT="48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0376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0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08</a:t>
                      </a:r>
                    </a:p>
                  </a:txBody>
                  <a:tcPr marL="4846" marR="4846" marT="48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0376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81317959"/>
                  </a:ext>
                </a:extLst>
              </a:tr>
              <a:tr h="101757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Usluge operativne koordinacije</a:t>
                      </a:r>
                    </a:p>
                  </a:txBody>
                  <a:tcPr marL="4846" marR="4846" marT="48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6</a:t>
                      </a:r>
                    </a:p>
                  </a:txBody>
                  <a:tcPr marL="4846" marR="4846" marT="48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6296255"/>
                  </a:ext>
                </a:extLst>
              </a:tr>
              <a:tr h="101757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Usluge tehničko-financijske kontrole</a:t>
                      </a:r>
                    </a:p>
                  </a:txBody>
                  <a:tcPr marL="4846" marR="4846" marT="48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0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6</a:t>
                      </a:r>
                    </a:p>
                  </a:txBody>
                  <a:tcPr marL="4846" marR="4846" marT="48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8627652"/>
                  </a:ext>
                </a:extLst>
              </a:tr>
              <a:tr h="101757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Usluge projektiranja</a:t>
                      </a:r>
                    </a:p>
                  </a:txBody>
                  <a:tcPr marL="4846" marR="4846" marT="48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7</a:t>
                      </a:r>
                    </a:p>
                  </a:txBody>
                  <a:tcPr marL="4846" marR="4846" marT="48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9913916"/>
                  </a:ext>
                </a:extLst>
              </a:tr>
              <a:tr h="198669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zvođenje radova (uklanjanje, obnova i izgradnja zamjenskih obiteljskih kuća)</a:t>
                      </a:r>
                    </a:p>
                  </a:txBody>
                  <a:tcPr marL="4846" marR="4846" marT="48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4846" marR="4846" marT="48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122846"/>
                  </a:ext>
                </a:extLst>
              </a:tr>
              <a:tr h="101757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Usluga stručnog nadzora</a:t>
                      </a:r>
                    </a:p>
                  </a:txBody>
                  <a:tcPr marL="4846" marR="4846" marT="48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1</a:t>
                      </a:r>
                    </a:p>
                  </a:txBody>
                  <a:tcPr marL="4846" marR="4846" marT="48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9719288"/>
                  </a:ext>
                </a:extLst>
              </a:tr>
              <a:tr h="101757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Nabava i najam mobilnih kuća za osiguranje privremenog smještaja</a:t>
                      </a:r>
                    </a:p>
                  </a:txBody>
                  <a:tcPr marL="4846" marR="4846" marT="48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4846" marR="4846" marT="484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9463749"/>
                  </a:ext>
                </a:extLst>
              </a:tr>
            </a:tbl>
          </a:graphicData>
        </a:graphic>
      </p:graphicFrame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DB54BAD1-AC0D-42E7-9BE0-1333E9FC8DF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58053906"/>
              </p:ext>
            </p:extLst>
          </p:nvPr>
        </p:nvGraphicFramePr>
        <p:xfrm>
          <a:off x="6169673" y="607036"/>
          <a:ext cx="4644000" cy="6002233"/>
        </p:xfrm>
        <a:graphic>
          <a:graphicData uri="http://schemas.openxmlformats.org/drawingml/2006/table">
            <a:tbl>
              <a:tblPr/>
              <a:tblGrid>
                <a:gridCol w="3995783">
                  <a:extLst>
                    <a:ext uri="{9D8B030D-6E8A-4147-A177-3AD203B41FA5}">
                      <a16:colId xmlns:a16="http://schemas.microsoft.com/office/drawing/2014/main" val="85953723"/>
                    </a:ext>
                  </a:extLst>
                </a:gridCol>
                <a:gridCol w="648217">
                  <a:extLst>
                    <a:ext uri="{9D8B030D-6E8A-4147-A177-3AD203B41FA5}">
                      <a16:colId xmlns:a16="http://schemas.microsoft.com/office/drawing/2014/main" val="3264664530"/>
                    </a:ext>
                  </a:extLst>
                </a:gridCol>
              </a:tblGrid>
              <a:tr h="315907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Ukupno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0376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0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0376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7544156"/>
                  </a:ext>
                </a:extLst>
              </a:tr>
              <a:tr h="315907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Obrada prije objav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2055926"/>
                  </a:ext>
                </a:extLst>
              </a:tr>
              <a:tr h="315907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Objavljeno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0376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0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0376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5979650"/>
                  </a:ext>
                </a:extLst>
              </a:tr>
              <a:tr h="315907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rujan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3951409"/>
                  </a:ext>
                </a:extLst>
              </a:tr>
              <a:tr h="315907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listopa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5024870"/>
                  </a:ext>
                </a:extLst>
              </a:tr>
              <a:tr h="315907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udeni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1401245"/>
                  </a:ext>
                </a:extLst>
              </a:tr>
              <a:tr h="315907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osinac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3548818"/>
                  </a:ext>
                </a:extLst>
              </a:tr>
              <a:tr h="315907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ovedeno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0376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0376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8691265"/>
                  </a:ext>
                </a:extLst>
              </a:tr>
              <a:tr h="315907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Čekanje ponuda/obrada ponud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0376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0376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5133678"/>
                  </a:ext>
                </a:extLst>
              </a:tr>
              <a:tr h="315907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Odabrano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0376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0376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7958035"/>
                  </a:ext>
                </a:extLst>
              </a:tr>
              <a:tr h="315907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Usluge projektiranj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9459298"/>
                  </a:ext>
                </a:extLst>
              </a:tr>
              <a:tr h="315907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Usluge kontrole projeka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1305275"/>
                  </a:ext>
                </a:extLst>
              </a:tr>
              <a:tr h="315907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Usluge tehničko-financijske kontrol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3081436"/>
                  </a:ext>
                </a:extLst>
              </a:tr>
              <a:tr h="315907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Usluge operativne koordinacij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1451066"/>
                  </a:ext>
                </a:extLst>
              </a:tr>
              <a:tr h="315907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oništeno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0376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0376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8992218"/>
                  </a:ext>
                </a:extLst>
              </a:tr>
              <a:tr h="315907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Usluge projektiranj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8179250"/>
                  </a:ext>
                </a:extLst>
              </a:tr>
              <a:tr h="315907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Usluge kontrole projeka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5320626"/>
                  </a:ext>
                </a:extLst>
              </a:tr>
              <a:tr h="315907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Usluge tehničko-financijske kontrol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0752325"/>
                  </a:ext>
                </a:extLst>
              </a:tr>
              <a:tr h="315907">
                <a:tc>
                  <a:txBody>
                    <a:bodyPr/>
                    <a:lstStyle/>
                    <a:p>
                      <a:pPr algn="l" fontAlgn="b"/>
                      <a:r>
                        <a:rPr lang="hr-HR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Usluge operativne koordinacij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8103833"/>
                  </a:ext>
                </a:extLst>
              </a:tr>
            </a:tbl>
          </a:graphicData>
        </a:graphic>
      </p:graphicFrame>
      <p:sp>
        <p:nvSpPr>
          <p:cNvPr id="9" name="Title 1">
            <a:extLst>
              <a:ext uri="{FF2B5EF4-FFF2-40B4-BE49-F238E27FC236}">
                <a16:creationId xmlns:a16="http://schemas.microsoft.com/office/drawing/2014/main" id="{48795791-0F34-4BF9-A56C-B3F3BBD92232}"/>
              </a:ext>
            </a:extLst>
          </p:cNvPr>
          <p:cNvSpPr txBox="1">
            <a:spLocks/>
          </p:cNvSpPr>
          <p:nvPr/>
        </p:nvSpPr>
        <p:spPr>
          <a:xfrm>
            <a:off x="6096000" y="20195"/>
            <a:ext cx="4717673" cy="58684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hr-HR" sz="24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namički sustavi (DNS)</a:t>
            </a:r>
          </a:p>
        </p:txBody>
      </p:sp>
    </p:spTree>
    <p:extLst>
      <p:ext uri="{BB962C8B-B14F-4D97-AF65-F5344CB8AC3E}">
        <p14:creationId xmlns:p14="http://schemas.microsoft.com/office/powerpoint/2010/main" val="407219756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A30140B-D282-44D6-8F67-F54483F0BA7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05461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3A30140B-D282-44D6-8F67-F54483F0B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Slika 3">
            <a:extLst>
              <a:ext uri="{FF2B5EF4-FFF2-40B4-BE49-F238E27FC236}">
                <a16:creationId xmlns:a16="http://schemas.microsoft.com/office/drawing/2014/main" id="{5E592373-6DD2-48CA-B201-5D1BDD56C72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744200" y="98343"/>
            <a:ext cx="1219200" cy="881909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705F78B2-3CBE-4161-8D43-93CC5B55ED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0385" y="88679"/>
            <a:ext cx="10149042" cy="1056630"/>
          </a:xfrm>
        </p:spPr>
        <p:txBody>
          <a:bodyPr vert="horz">
            <a:normAutofit fontScale="90000"/>
          </a:bodyPr>
          <a:lstStyle/>
          <a:p>
            <a:r>
              <a:rPr lang="hr-HR" sz="36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Javna nabava</a:t>
            </a:r>
            <a:br>
              <a:rPr lang="hr-HR" sz="36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hr-HR" sz="36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Jednostavna nabava i Dinamički sustavi (DNS)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EE17B5-C438-4A0C-8A9F-45EC8496D3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2E2A02-C0F9-B34B-A9CA-09BF5C033E13}" type="slidenum">
              <a:rPr lang="hr-HR" smtClean="0"/>
              <a:t>18</a:t>
            </a:fld>
            <a:endParaRPr lang="hr-HR"/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DCC60572-9103-4E2E-AC5C-6D1E76EC5D3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11382294"/>
              </p:ext>
            </p:extLst>
          </p:nvPr>
        </p:nvGraphicFramePr>
        <p:xfrm>
          <a:off x="722851" y="1313895"/>
          <a:ext cx="10746298" cy="48773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26813986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A30140B-D282-44D6-8F67-F54483F0BA7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3A30140B-D282-44D6-8F67-F54483F0B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Slika 3">
            <a:extLst>
              <a:ext uri="{FF2B5EF4-FFF2-40B4-BE49-F238E27FC236}">
                <a16:creationId xmlns:a16="http://schemas.microsoft.com/office/drawing/2014/main" id="{5E592373-6DD2-48CA-B201-5D1BDD56C72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741079" y="234566"/>
            <a:ext cx="1219200" cy="881909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705F78B2-3CBE-4161-8D43-93CC5B55ED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9878" y="210503"/>
            <a:ext cx="10149042" cy="713191"/>
          </a:xfrm>
        </p:spPr>
        <p:txBody>
          <a:bodyPr vert="horz">
            <a:normAutofit/>
          </a:bodyPr>
          <a:lstStyle/>
          <a:p>
            <a:r>
              <a:rPr lang="hr-HR" sz="36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ažb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EE17B5-C438-4A0C-8A9F-45EC8496D3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2E2A02-C0F9-B34B-A9CA-09BF5C033E13}" type="slidenum">
              <a:rPr lang="hr-HR" smtClean="0"/>
              <a:t>19</a:t>
            </a:fld>
            <a:endParaRPr lang="hr-HR"/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7685E71D-1D5C-4810-91D7-B9D52EF53C87}"/>
              </a:ext>
            </a:extLst>
          </p:cNvPr>
          <p:cNvGraphicFramePr>
            <a:graphicFrameLocks noGrp="1"/>
          </p:cNvGraphicFramePr>
          <p:nvPr/>
        </p:nvGraphicFramePr>
        <p:xfrm>
          <a:off x="1021479" y="856959"/>
          <a:ext cx="5235630" cy="459584"/>
        </p:xfrm>
        <a:graphic>
          <a:graphicData uri="http://schemas.openxmlformats.org/drawingml/2006/table">
            <a:tbl>
              <a:tblPr>
                <a:tableStyleId>{D113A9D2-9D6B-4929-AA2D-F23B5EE8CBE7}</a:tableStyleId>
              </a:tblPr>
              <a:tblGrid>
                <a:gridCol w="4242309">
                  <a:extLst>
                    <a:ext uri="{9D8B030D-6E8A-4147-A177-3AD203B41FA5}">
                      <a16:colId xmlns:a16="http://schemas.microsoft.com/office/drawing/2014/main" val="4182122895"/>
                    </a:ext>
                  </a:extLst>
                </a:gridCol>
                <a:gridCol w="993321">
                  <a:extLst>
                    <a:ext uri="{9D8B030D-6E8A-4147-A177-3AD203B41FA5}">
                      <a16:colId xmlns:a16="http://schemas.microsoft.com/office/drawing/2014/main" val="1620279672"/>
                    </a:ext>
                  </a:extLst>
                </a:gridCol>
              </a:tblGrid>
              <a:tr h="459584"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kupno</a:t>
                      </a:r>
                      <a:endParaRPr lang="hr-HR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hr-HR" sz="1200" b="1" u="none" strike="noStrike" kern="1200">
                          <a:solidFill>
                            <a:schemeClr val="lt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0</a:t>
                      </a:r>
                      <a:endParaRPr lang="hr-HR" sz="1200" b="1" u="none" strike="noStrike" kern="1200" dirty="0">
                        <a:solidFill>
                          <a:schemeClr val="lt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7896226"/>
                  </a:ext>
                </a:extLst>
              </a:tr>
            </a:tbl>
          </a:graphicData>
        </a:graphic>
      </p:graphicFrame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B4771C1D-CB87-4E67-AEB3-9B89699F466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37569005"/>
              </p:ext>
            </p:extLst>
          </p:nvPr>
        </p:nvGraphicFramePr>
        <p:xfrm>
          <a:off x="1021478" y="2047152"/>
          <a:ext cx="5235630" cy="1838336"/>
        </p:xfrm>
        <a:graphic>
          <a:graphicData uri="http://schemas.openxmlformats.org/drawingml/2006/table">
            <a:tbl>
              <a:tblPr>
                <a:tableStyleId>{D113A9D2-9D6B-4929-AA2D-F23B5EE8CBE7}</a:tableStyleId>
              </a:tblPr>
              <a:tblGrid>
                <a:gridCol w="4242309">
                  <a:extLst>
                    <a:ext uri="{9D8B030D-6E8A-4147-A177-3AD203B41FA5}">
                      <a16:colId xmlns:a16="http://schemas.microsoft.com/office/drawing/2014/main" val="4182122895"/>
                    </a:ext>
                  </a:extLst>
                </a:gridCol>
                <a:gridCol w="993321">
                  <a:extLst>
                    <a:ext uri="{9D8B030D-6E8A-4147-A177-3AD203B41FA5}">
                      <a16:colId xmlns:a16="http://schemas.microsoft.com/office/drawing/2014/main" val="1620279672"/>
                    </a:ext>
                  </a:extLst>
                </a:gridCol>
              </a:tblGrid>
              <a:tr h="459584">
                <a:tc>
                  <a:txBody>
                    <a:bodyPr/>
                    <a:lstStyle/>
                    <a:p>
                      <a:pPr algn="l" fontAlgn="ctr"/>
                      <a:r>
                        <a:rPr lang="hr-HR" sz="12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sluge operativnog koordinatora</a:t>
                      </a:r>
                      <a:endParaRPr lang="hr-HR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hr-HR" sz="1200" u="none" strike="noStrike" kern="1200" dirty="0">
                          <a:solidFill>
                            <a:schemeClr val="lt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63427565"/>
                  </a:ext>
                </a:extLst>
              </a:tr>
              <a:tr h="459584">
                <a:tc>
                  <a:txBody>
                    <a:bodyPr/>
                    <a:lstStyle/>
                    <a:p>
                      <a:pPr algn="l" fontAlgn="ctr"/>
                      <a:r>
                        <a:rPr lang="hr-HR" sz="12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sluge tehničko-financijske kontrole</a:t>
                      </a:r>
                      <a:endParaRPr lang="hr-HR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hr-HR" sz="1200" u="none" strike="noStrike" kern="1200" dirty="0">
                          <a:solidFill>
                            <a:schemeClr val="lt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19401295"/>
                  </a:ext>
                </a:extLst>
              </a:tr>
              <a:tr h="459584">
                <a:tc>
                  <a:txBody>
                    <a:bodyPr/>
                    <a:lstStyle/>
                    <a:p>
                      <a:pPr algn="l" fontAlgn="ctr"/>
                      <a:r>
                        <a:rPr lang="hr-HR" sz="12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sluge projektiranja</a:t>
                      </a:r>
                      <a:endParaRPr lang="hr-HR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hr-HR" sz="1200" u="none" strike="noStrike" kern="1200" dirty="0">
                          <a:solidFill>
                            <a:schemeClr val="lt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79880809"/>
                  </a:ext>
                </a:extLst>
              </a:tr>
              <a:tr h="459584">
                <a:tc>
                  <a:txBody>
                    <a:bodyPr/>
                    <a:lstStyle/>
                    <a:p>
                      <a:pPr algn="l" fontAlgn="ctr"/>
                      <a:r>
                        <a:rPr lang="hr-HR" sz="12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zvođenje radova</a:t>
                      </a:r>
                      <a:endParaRPr lang="hr-HR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hr-HR" sz="1200" u="none" strike="noStrike" kern="1200" dirty="0">
                          <a:solidFill>
                            <a:schemeClr val="lt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724137376"/>
                  </a:ext>
                </a:extLst>
              </a:tr>
            </a:tbl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9BBC2408-2B8C-4902-AE59-34F5341602B5}"/>
              </a:ext>
            </a:extLst>
          </p:cNvPr>
          <p:cNvSpPr txBox="1">
            <a:spLocks/>
          </p:cNvSpPr>
          <p:nvPr/>
        </p:nvSpPr>
        <p:spPr>
          <a:xfrm>
            <a:off x="919878" y="1416909"/>
            <a:ext cx="10022209" cy="58684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r-HR" sz="18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vrstama predmeta nabave</a:t>
            </a:r>
          </a:p>
        </p:txBody>
      </p:sp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38741190-A28B-45A3-ADCC-1FA290FDDC48}"/>
              </a:ext>
            </a:extLst>
          </p:cNvPr>
          <p:cNvGraphicFramePr>
            <a:graphicFrameLocks noGrp="1"/>
          </p:cNvGraphicFramePr>
          <p:nvPr/>
        </p:nvGraphicFramePr>
        <p:xfrm>
          <a:off x="1021479" y="4500554"/>
          <a:ext cx="5235630" cy="1838336"/>
        </p:xfrm>
        <a:graphic>
          <a:graphicData uri="http://schemas.openxmlformats.org/drawingml/2006/table">
            <a:tbl>
              <a:tblPr>
                <a:tableStyleId>{D113A9D2-9D6B-4929-AA2D-F23B5EE8CBE7}</a:tableStyleId>
              </a:tblPr>
              <a:tblGrid>
                <a:gridCol w="3482962">
                  <a:extLst>
                    <a:ext uri="{9D8B030D-6E8A-4147-A177-3AD203B41FA5}">
                      <a16:colId xmlns:a16="http://schemas.microsoft.com/office/drawing/2014/main" val="4182122895"/>
                    </a:ext>
                  </a:extLst>
                </a:gridCol>
                <a:gridCol w="1752668">
                  <a:extLst>
                    <a:ext uri="{9D8B030D-6E8A-4147-A177-3AD203B41FA5}">
                      <a16:colId xmlns:a16="http://schemas.microsoft.com/office/drawing/2014/main" val="1620279672"/>
                    </a:ext>
                  </a:extLst>
                </a:gridCol>
              </a:tblGrid>
              <a:tr h="459584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hr-HR" sz="1200" u="none" strike="noStrike" kern="1200" dirty="0">
                          <a:solidFill>
                            <a:schemeClr val="lt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vrijednost odabranih ponuda prije dražbe za sve postupk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hr-HR" sz="1200" u="none" strike="noStrike" kern="1200" dirty="0">
                          <a:solidFill>
                            <a:schemeClr val="lt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.516.932,34 kn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63427565"/>
                  </a:ext>
                </a:extLst>
              </a:tr>
              <a:tr h="459584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hr-HR" sz="1200" u="none" strike="noStrike" kern="1200" dirty="0">
                          <a:solidFill>
                            <a:schemeClr val="lt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Vrijednost odabranih ponuda nakon dražbe za sve postupk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284.939,06 kn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19401295"/>
                  </a:ext>
                </a:extLst>
              </a:tr>
              <a:tr h="459584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hr-HR" sz="1200" u="none" strike="noStrike" kern="1200" dirty="0">
                          <a:solidFill>
                            <a:schemeClr val="lt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ukupna ostvarena ušteda u k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hr-HR" sz="1200" u="none" strike="noStrike" kern="1200" dirty="0">
                          <a:solidFill>
                            <a:schemeClr val="lt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31.993,28 kn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79880809"/>
                  </a:ext>
                </a:extLst>
              </a:tr>
              <a:tr h="459584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hr-HR" sz="1200" u="none" strike="noStrike" kern="1200" dirty="0">
                          <a:solidFill>
                            <a:schemeClr val="lt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ukupno smanjenje u postotku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,29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724137376"/>
                  </a:ext>
                </a:extLst>
              </a:tr>
            </a:tbl>
          </a:graphicData>
        </a:graphic>
      </p:graphicFrame>
      <p:sp>
        <p:nvSpPr>
          <p:cNvPr id="15" name="Title 1">
            <a:extLst>
              <a:ext uri="{FF2B5EF4-FFF2-40B4-BE49-F238E27FC236}">
                <a16:creationId xmlns:a16="http://schemas.microsoft.com/office/drawing/2014/main" id="{68F14C56-4854-4C1F-A683-D48259AA1580}"/>
              </a:ext>
            </a:extLst>
          </p:cNvPr>
          <p:cNvSpPr txBox="1">
            <a:spLocks/>
          </p:cNvSpPr>
          <p:nvPr/>
        </p:nvSpPr>
        <p:spPr>
          <a:xfrm>
            <a:off x="934591" y="3913713"/>
            <a:ext cx="10022210" cy="58684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r-HR" sz="18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stvarena ušteda</a:t>
            </a:r>
          </a:p>
        </p:txBody>
      </p:sp>
      <p:graphicFrame>
        <p:nvGraphicFramePr>
          <p:cNvPr id="18" name="Chart 17">
            <a:extLst>
              <a:ext uri="{FF2B5EF4-FFF2-40B4-BE49-F238E27FC236}">
                <a16:creationId xmlns:a16="http://schemas.microsoft.com/office/drawing/2014/main" id="{1D122441-391A-4A69-8C53-09D3A6461FD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88844252"/>
              </p:ext>
            </p:extLst>
          </p:nvPr>
        </p:nvGraphicFramePr>
        <p:xfrm>
          <a:off x="6598521" y="1212174"/>
          <a:ext cx="4572000" cy="50996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36078949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C914FAA-0421-443B-BE81-8D534ED4F5D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C914FAA-0421-443B-BE81-8D534ED4F5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Slika 3">
            <a:extLst>
              <a:ext uri="{FF2B5EF4-FFF2-40B4-BE49-F238E27FC236}">
                <a16:creationId xmlns:a16="http://schemas.microsoft.com/office/drawing/2014/main" id="{5D968E74-F8FD-42BA-AAB2-1EA106274FE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741079" y="234566"/>
            <a:ext cx="1219200" cy="881909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DBB683BC-C3A5-47BE-A1C8-25DD5474C519}"/>
              </a:ext>
            </a:extLst>
          </p:cNvPr>
          <p:cNvSpPr txBox="1">
            <a:spLocks/>
          </p:cNvSpPr>
          <p:nvPr/>
        </p:nvSpPr>
        <p:spPr>
          <a:xfrm>
            <a:off x="876692" y="509341"/>
            <a:ext cx="11315307" cy="49665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hr-HR" sz="360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7930640-2F8C-4D91-8216-9F07020AB8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2E2A02-C0F9-B34B-A9CA-09BF5C033E13}" type="slidenum">
              <a:rPr lang="hr-HR" smtClean="0"/>
              <a:t>2</a:t>
            </a:fld>
            <a:endParaRPr lang="hr-HR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0FE3FE0-ED59-4B04-88E4-0DCAE806EF35}"/>
              </a:ext>
            </a:extLst>
          </p:cNvPr>
          <p:cNvSpPr txBox="1"/>
          <p:nvPr/>
        </p:nvSpPr>
        <p:spPr>
          <a:xfrm>
            <a:off x="1152048" y="1336854"/>
            <a:ext cx="9652879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r-HR" dirty="0">
                <a:hlinkClick r:id="rId8"/>
              </a:rPr>
              <a:t>Redovito izvještavanje javnosti</a:t>
            </a:r>
            <a:endParaRPr lang="hr-H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r-HR" dirty="0"/>
              <a:t>Mjesečni izvještaji i ostale informacije o tijeku obnove</a:t>
            </a:r>
          </a:p>
          <a:p>
            <a:endParaRPr lang="hr-HR" dirty="0"/>
          </a:p>
          <a:p>
            <a:r>
              <a:rPr lang="hr-HR" dirty="0">
                <a:hlinkClick r:id="rId9"/>
              </a:rPr>
              <a:t>Informacije o obnovi</a:t>
            </a:r>
            <a:endParaRPr lang="hr-H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r-HR" dirty="0"/>
              <a:t>Pregled po lokaciji, aktima, datumima i fazama u obnov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hr-HR" dirty="0"/>
          </a:p>
          <a:p>
            <a:r>
              <a:rPr lang="hr-HR" dirty="0">
                <a:hlinkClick r:id="rId10"/>
              </a:rPr>
              <a:t>Troškovi Fonda za obnovu</a:t>
            </a:r>
            <a:endParaRPr lang="hr-HR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r-HR" dirty="0"/>
              <a:t>Pregled troškova i isplata Fonda za obnovu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hr-HR" dirty="0"/>
          </a:p>
          <a:p>
            <a:r>
              <a:rPr lang="hr-HR" dirty="0">
                <a:hlinkClick r:id="rId11"/>
              </a:rPr>
              <a:t>Javna nabava</a:t>
            </a:r>
            <a:endParaRPr lang="hr-H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r-HR" dirty="0"/>
              <a:t>Dokumentacija o postupcima nabav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hr-HR" dirty="0"/>
          </a:p>
          <a:p>
            <a:r>
              <a:rPr lang="hr-HR" dirty="0">
                <a:hlinkClick r:id="rId12"/>
              </a:rPr>
              <a:t>Prijava nepravilnosti</a:t>
            </a:r>
            <a:endParaRPr lang="hr-H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r-HR" dirty="0"/>
              <a:t>Obrazac za prijave nepravilnosti </a:t>
            </a:r>
          </a:p>
        </p:txBody>
      </p:sp>
      <p:sp>
        <p:nvSpPr>
          <p:cNvPr id="7" name="TekstniOkvir 3">
            <a:extLst>
              <a:ext uri="{FF2B5EF4-FFF2-40B4-BE49-F238E27FC236}">
                <a16:creationId xmlns:a16="http://schemas.microsoft.com/office/drawing/2014/main" id="{0DC419BB-2919-470F-82AE-6287F502BEA8}"/>
              </a:ext>
            </a:extLst>
          </p:cNvPr>
          <p:cNvSpPr txBox="1"/>
          <p:nvPr/>
        </p:nvSpPr>
        <p:spPr>
          <a:xfrm>
            <a:off x="760251" y="5710019"/>
            <a:ext cx="1067149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r-HR" sz="1600" dirty="0"/>
              <a:t>Informacije o provedbi obnove dostupne su na:</a:t>
            </a:r>
          </a:p>
          <a:p>
            <a:pPr algn="ctr"/>
            <a:r>
              <a:rPr lang="hr-HR" sz="1600" dirty="0">
                <a:hlinkClick r:id="rId10"/>
              </a:rPr>
              <a:t>https://www.fzo.hr/pages/informacije-za-javnost-</a:t>
            </a:r>
            <a:r>
              <a:rPr lang="hr-HR" sz="1600" dirty="0" err="1">
                <a:hlinkClick r:id="rId10"/>
              </a:rPr>
              <a:t>pracenje</a:t>
            </a:r>
            <a:r>
              <a:rPr lang="hr-HR" sz="1600" dirty="0">
                <a:hlinkClick r:id="rId10"/>
              </a:rPr>
              <a:t>-provedbe-obnove</a:t>
            </a:r>
            <a:r>
              <a:rPr lang="hr-HR" sz="1600" dirty="0"/>
              <a:t> </a:t>
            </a:r>
          </a:p>
          <a:p>
            <a:pPr algn="ctr"/>
            <a:endParaRPr lang="hr-HR" sz="1600" dirty="0"/>
          </a:p>
          <a:p>
            <a:pPr algn="ctr"/>
            <a:r>
              <a:rPr lang="hr-HR" sz="1600" dirty="0"/>
              <a:t>*podaci iz izvješća odnose se na razdoblje od 1. siječnja 2021. do 31. siječnja 2022.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5B3415FA-8990-4EC0-8F22-2C500B164BC2}"/>
              </a:ext>
            </a:extLst>
          </p:cNvPr>
          <p:cNvSpPr txBox="1">
            <a:spLocks/>
          </p:cNvSpPr>
          <p:nvPr/>
        </p:nvSpPr>
        <p:spPr>
          <a:xfrm>
            <a:off x="604239" y="371953"/>
            <a:ext cx="10136840" cy="77142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/>
            <a:r>
              <a:rPr lang="hr-HR" sz="24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ormiranje javnosti i transparentnost</a:t>
            </a:r>
            <a:endParaRPr lang="hr-HR" sz="2400" dirty="0"/>
          </a:p>
        </p:txBody>
      </p:sp>
    </p:spTree>
    <p:extLst>
      <p:ext uri="{BB962C8B-B14F-4D97-AF65-F5344CB8AC3E}">
        <p14:creationId xmlns:p14="http://schemas.microsoft.com/office/powerpoint/2010/main" val="115919903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A30140B-D282-44D6-8F67-F54483F0BA7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3A30140B-D282-44D6-8F67-F54483F0BA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Slika 3">
            <a:extLst>
              <a:ext uri="{FF2B5EF4-FFF2-40B4-BE49-F238E27FC236}">
                <a16:creationId xmlns:a16="http://schemas.microsoft.com/office/drawing/2014/main" id="{5E592373-6DD2-48CA-B201-5D1BDD56C72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741079" y="234566"/>
            <a:ext cx="1219200" cy="881909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705F78B2-3CBE-4161-8D43-93CC5B55ED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0386" y="342732"/>
            <a:ext cx="10149042" cy="586841"/>
          </a:xfrm>
        </p:spPr>
        <p:txBody>
          <a:bodyPr vert="horz">
            <a:normAutofit/>
          </a:bodyPr>
          <a:lstStyle/>
          <a:p>
            <a:r>
              <a:rPr lang="hr-HR" sz="36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govori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EE17B5-C438-4A0C-8A9F-45EC8496D3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2E2A02-C0F9-B34B-A9CA-09BF5C033E13}" type="slidenum">
              <a:rPr lang="hr-HR" smtClean="0"/>
              <a:t>20</a:t>
            </a:fld>
            <a:endParaRPr lang="hr-HR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9BBC2408-2B8C-4902-AE59-34F5341602B5}"/>
              </a:ext>
            </a:extLst>
          </p:cNvPr>
          <p:cNvSpPr txBox="1">
            <a:spLocks/>
          </p:cNvSpPr>
          <p:nvPr/>
        </p:nvSpPr>
        <p:spPr>
          <a:xfrm>
            <a:off x="753513" y="1127779"/>
            <a:ext cx="10149042" cy="58684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r-HR" sz="18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uktura ugovora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3031E45D-B453-4F05-9BDB-E832273096C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3199928"/>
              </p:ext>
            </p:extLst>
          </p:nvPr>
        </p:nvGraphicFramePr>
        <p:xfrm>
          <a:off x="815657" y="1605499"/>
          <a:ext cx="4670743" cy="4600368"/>
        </p:xfrm>
        <a:graphic>
          <a:graphicData uri="http://schemas.openxmlformats.org/drawingml/2006/table">
            <a:tbl>
              <a:tblPr/>
              <a:tblGrid>
                <a:gridCol w="3978285">
                  <a:extLst>
                    <a:ext uri="{9D8B030D-6E8A-4147-A177-3AD203B41FA5}">
                      <a16:colId xmlns:a16="http://schemas.microsoft.com/office/drawing/2014/main" val="1787292640"/>
                    </a:ext>
                  </a:extLst>
                </a:gridCol>
                <a:gridCol w="692458">
                  <a:extLst>
                    <a:ext uri="{9D8B030D-6E8A-4147-A177-3AD203B41FA5}">
                      <a16:colId xmlns:a16="http://schemas.microsoft.com/office/drawing/2014/main" val="3113185936"/>
                    </a:ext>
                  </a:extLst>
                </a:gridCol>
              </a:tblGrid>
              <a:tr h="323383"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Usluge operativne koordinacij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2818184"/>
                  </a:ext>
                </a:extLst>
              </a:tr>
              <a:tr h="323383"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Usluge tehničko-financijske kontrol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2025384"/>
                  </a:ext>
                </a:extLst>
              </a:tr>
              <a:tr h="323383"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Usluge projektiranj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7997115"/>
                  </a:ext>
                </a:extLst>
              </a:tr>
              <a:tr h="323383"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Usluge kontrole projekat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1731319"/>
                  </a:ext>
                </a:extLst>
              </a:tr>
              <a:tr h="323383"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zvođenje radova (uklanjanje, obnova i izgradnja zamjenskih obiteljskih kuća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0676261"/>
                  </a:ext>
                </a:extLst>
              </a:tr>
              <a:tr h="323383"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Usluga stručnog nadzor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4419043"/>
                  </a:ext>
                </a:extLst>
              </a:tr>
              <a:tr h="323383"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Usluga ovlaštenog inženjera građevinarstv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5579856"/>
                  </a:ext>
                </a:extLst>
              </a:tr>
              <a:tr h="323383"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Usluga stalnog sudskog vještaka i ovlaštenog inženjer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5201310"/>
                  </a:ext>
                </a:extLst>
              </a:tr>
              <a:tr h="323383"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Nabava i najam mobilnih kuća za osiguranje privremenog smještaj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07069554"/>
                  </a:ext>
                </a:extLst>
              </a:tr>
              <a:tr h="631367"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Usluga izrade smjernica za projektiranje novih obiteljskih kuća u Gradu Zagrebu i Krapinsko-zagorskoj županiji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6506290"/>
                  </a:ext>
                </a:extLst>
              </a:tr>
              <a:tr h="323383"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Usluga ovlaštenih inženjera geodezij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8533981"/>
                  </a:ext>
                </a:extLst>
              </a:tr>
              <a:tr h="631367"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Usluga stručnog nadzora izvođenja radova podloge, terase i nadstrešnice te postavljanja i spajanja MSJ na komunalnu infrastrukturu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2752894"/>
                  </a:ext>
                </a:extLst>
              </a:tr>
            </a:tbl>
          </a:graphicData>
        </a:graphic>
      </p:graphicFrame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00000000-0008-0000-0100-000004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1818763"/>
              </p:ext>
            </p:extLst>
          </p:nvPr>
        </p:nvGraphicFramePr>
        <p:xfrm>
          <a:off x="5486399" y="1127779"/>
          <a:ext cx="5889943" cy="50780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00577637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C914FAA-0421-443B-BE81-8D534ED4F5D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C914FAA-0421-443B-BE81-8D534ED4F5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Slika 3">
            <a:extLst>
              <a:ext uri="{FF2B5EF4-FFF2-40B4-BE49-F238E27FC236}">
                <a16:creationId xmlns:a16="http://schemas.microsoft.com/office/drawing/2014/main" id="{5D968E74-F8FD-42BA-AAB2-1EA106274FE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741079" y="234566"/>
            <a:ext cx="1219200" cy="881909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DBB683BC-C3A5-47BE-A1C8-25DD5474C519}"/>
              </a:ext>
            </a:extLst>
          </p:cNvPr>
          <p:cNvSpPr txBox="1">
            <a:spLocks/>
          </p:cNvSpPr>
          <p:nvPr/>
        </p:nvSpPr>
        <p:spPr>
          <a:xfrm>
            <a:off x="734360" y="509341"/>
            <a:ext cx="10167419" cy="49665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77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r-HR" sz="36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O 37001 Sustav upravljanja za suzbijanje podmićivanj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B74E1E2-4BF3-49AF-8C2E-0DF2313EEE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2E2A02-C0F9-B34B-A9CA-09BF5C033E13}" type="slidenum">
              <a:rPr lang="hr-HR" smtClean="0"/>
              <a:t>21</a:t>
            </a:fld>
            <a:endParaRPr lang="hr-HR"/>
          </a:p>
        </p:txBody>
      </p:sp>
      <p:graphicFrame>
        <p:nvGraphicFramePr>
          <p:cNvPr id="2" name="Diagram 1">
            <a:extLst>
              <a:ext uri="{FF2B5EF4-FFF2-40B4-BE49-F238E27FC236}">
                <a16:creationId xmlns:a16="http://schemas.microsoft.com/office/drawing/2014/main" id="{463F6FF5-8DD1-4E5A-8664-570BFF7190D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44366011"/>
              </p:ext>
            </p:extLst>
          </p:nvPr>
        </p:nvGraphicFramePr>
        <p:xfrm>
          <a:off x="734360" y="1473567"/>
          <a:ext cx="10830240" cy="437114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</p:spTree>
    <p:extLst>
      <p:ext uri="{BB962C8B-B14F-4D97-AF65-F5344CB8AC3E}">
        <p14:creationId xmlns:p14="http://schemas.microsoft.com/office/powerpoint/2010/main" val="47730780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4788EE03-D3E6-4F15-932C-C63B8D7B98D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9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4788EE03-D3E6-4F15-932C-C63B8D7B98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Slika 3">
            <a:extLst>
              <a:ext uri="{FF2B5EF4-FFF2-40B4-BE49-F238E27FC236}">
                <a16:creationId xmlns:a16="http://schemas.microsoft.com/office/drawing/2014/main" id="{1F1990D1-DE8C-40AF-BCBB-C72EC8B5D3A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48564" y="2309662"/>
            <a:ext cx="3094872" cy="2238677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53317F4-4880-4A5D-86E6-9044E0B7AE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2E2A02-C0F9-B34B-A9CA-09BF5C033E13}" type="slidenum">
              <a:rPr lang="hr-HR" smtClean="0"/>
              <a:t>22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289574488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C914FAA-0421-443B-BE81-8D534ED4F5D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C914FAA-0421-443B-BE81-8D534ED4F5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Slika 3">
            <a:extLst>
              <a:ext uri="{FF2B5EF4-FFF2-40B4-BE49-F238E27FC236}">
                <a16:creationId xmlns:a16="http://schemas.microsoft.com/office/drawing/2014/main" id="{5D968E74-F8FD-42BA-AAB2-1EA106274FE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741079" y="234566"/>
            <a:ext cx="1219200" cy="881909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DBB683BC-C3A5-47BE-A1C8-25DD5474C519}"/>
              </a:ext>
            </a:extLst>
          </p:cNvPr>
          <p:cNvSpPr txBox="1">
            <a:spLocks/>
          </p:cNvSpPr>
          <p:nvPr/>
        </p:nvSpPr>
        <p:spPr>
          <a:xfrm>
            <a:off x="876692" y="509341"/>
            <a:ext cx="11315307" cy="49665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hr-HR" sz="360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7930640-2F8C-4D91-8216-9F07020AB8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2E2A02-C0F9-B34B-A9CA-09BF5C033E13}" type="slidenum">
              <a:rPr lang="hr-HR" smtClean="0"/>
              <a:t>3</a:t>
            </a:fld>
            <a:endParaRPr lang="hr-HR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6F82BF6C-48B9-4A36-9C1D-26DA353F8360}"/>
              </a:ext>
            </a:extLst>
          </p:cNvPr>
          <p:cNvSpPr txBox="1">
            <a:spLocks/>
          </p:cNvSpPr>
          <p:nvPr/>
        </p:nvSpPr>
        <p:spPr>
          <a:xfrm>
            <a:off x="604239" y="371953"/>
            <a:ext cx="10136840" cy="77142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/>
            <a:r>
              <a:rPr lang="hr-HR" sz="24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mopredaja predmeta u Središnji državni ured za obnovu i stambeno zbrinjavanje</a:t>
            </a:r>
            <a:endParaRPr lang="hr-HR" sz="24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203C954-4BD8-4FF6-A536-BD8072529327}"/>
              </a:ext>
            </a:extLst>
          </p:cNvPr>
          <p:cNvSpPr txBox="1"/>
          <p:nvPr/>
        </p:nvSpPr>
        <p:spPr>
          <a:xfrm>
            <a:off x="927559" y="1260795"/>
            <a:ext cx="10336882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hr-HR" dirty="0">
                <a:latin typeface="Arial" panose="020B0604020202020204" pitchFamily="34" charset="0"/>
                <a:cs typeface="Arial" panose="020B0604020202020204" pitchFamily="34" charset="0"/>
              </a:rPr>
              <a:t>Zakon o izmjenama i dopunama Zakona o obnovi zgrada oštećenih potresom na području Grada Zagreba, Krapinsko-zagorske županije, Zagrebačke županije, Sisačko-moslavačke županije i Karlovačke županije (NN 117/2021 ), u članku 40. i </a:t>
            </a:r>
            <a:r>
              <a:rPr lang="hr-HR" dirty="0" err="1">
                <a:latin typeface="Arial" panose="020B0604020202020204" pitchFamily="34" charset="0"/>
                <a:cs typeface="Arial" panose="020B0604020202020204" pitchFamily="34" charset="0"/>
              </a:rPr>
              <a:t>40.a</a:t>
            </a:r>
            <a:r>
              <a:rPr lang="hr-HR" dirty="0">
                <a:latin typeface="Arial" panose="020B0604020202020204" pitchFamily="34" charset="0"/>
                <a:cs typeface="Arial" panose="020B0604020202020204" pitchFamily="34" charset="0"/>
              </a:rPr>
              <a:t>, propisao je podjelu odgovornosti za izvršenje obnove na slijedeći način: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F21209E-AEDA-4A75-81F4-A7B5CCCACAA6}"/>
              </a:ext>
            </a:extLst>
          </p:cNvPr>
          <p:cNvSpPr txBox="1"/>
          <p:nvPr/>
        </p:nvSpPr>
        <p:spPr>
          <a:xfrm>
            <a:off x="927559" y="2720028"/>
            <a:ext cx="504000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r-HR" sz="1800" b="1" i="0" u="none" strike="noStrike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Fond za obnovu Grada Zagreba, Krapinsko-zagorske županije, Zagrebačke županije, Sisačko-moslavačke županije i Karlovačke županije</a:t>
            </a:r>
          </a:p>
          <a:p>
            <a:pPr algn="ctr"/>
            <a:endParaRPr lang="hr-HR" sz="1800" i="0" u="none" strike="noStrike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hr-HR" sz="1800" i="0" u="none" strike="noStrike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GRAD ZAGREB</a:t>
            </a:r>
          </a:p>
          <a:p>
            <a:pPr algn="ctr"/>
            <a:r>
              <a:rPr lang="hr-HR" dirty="0">
                <a:latin typeface="Arial" panose="020B0604020202020204" pitchFamily="34" charset="0"/>
                <a:cs typeface="Arial" panose="020B0604020202020204" pitchFamily="34" charset="0"/>
              </a:rPr>
              <a:t>KRAPINSKO-ZAGORSKA ŽUPANIJA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677BFDC-2EA7-4D71-BDA0-EE4F1B249BAC}"/>
              </a:ext>
            </a:extLst>
          </p:cNvPr>
          <p:cNvSpPr txBox="1"/>
          <p:nvPr/>
        </p:nvSpPr>
        <p:spPr>
          <a:xfrm>
            <a:off x="6224439" y="2720028"/>
            <a:ext cx="5168441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r-HR" b="1" dirty="0">
                <a:latin typeface="Arial" panose="020B0604020202020204" pitchFamily="34" charset="0"/>
                <a:cs typeface="Arial" panose="020B0604020202020204" pitchFamily="34" charset="0"/>
              </a:rPr>
              <a:t>Središnji državni ured </a:t>
            </a:r>
          </a:p>
          <a:p>
            <a:pPr algn="ctr"/>
            <a:r>
              <a:rPr lang="hr-HR" b="1" dirty="0">
                <a:latin typeface="Arial" panose="020B0604020202020204" pitchFamily="34" charset="0"/>
                <a:cs typeface="Arial" panose="020B0604020202020204" pitchFamily="34" charset="0"/>
              </a:rPr>
              <a:t>za obnovu i stambeno zbrinjavanje </a:t>
            </a:r>
          </a:p>
          <a:p>
            <a:pPr algn="ctr"/>
            <a:endParaRPr lang="hr-HR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hr-HR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hr-HR" dirty="0">
                <a:latin typeface="Arial" panose="020B0604020202020204" pitchFamily="34" charset="0"/>
                <a:cs typeface="Arial" panose="020B0604020202020204" pitchFamily="34" charset="0"/>
              </a:rPr>
              <a:t>SISAČKO-MOSLAVAČKA ŽUPANIJA</a:t>
            </a:r>
          </a:p>
          <a:p>
            <a:pPr algn="ctr"/>
            <a:r>
              <a:rPr lang="hr-HR" dirty="0">
                <a:latin typeface="Arial" panose="020B0604020202020204" pitchFamily="34" charset="0"/>
                <a:cs typeface="Arial" panose="020B0604020202020204" pitchFamily="34" charset="0"/>
              </a:rPr>
              <a:t>ZAGREBAČKA ŽUPANIJA</a:t>
            </a:r>
          </a:p>
          <a:p>
            <a:pPr algn="ctr"/>
            <a:r>
              <a:rPr lang="hr-HR" dirty="0">
                <a:latin typeface="Arial" panose="020B0604020202020204" pitchFamily="34" charset="0"/>
                <a:cs typeface="Arial" panose="020B0604020202020204" pitchFamily="34" charset="0"/>
              </a:rPr>
              <a:t>KARLOVAČKA ŽUPANIJA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2FAF0C9-FA9F-4723-AD61-E45AC4584773}"/>
              </a:ext>
            </a:extLst>
          </p:cNvPr>
          <p:cNvSpPr txBox="1"/>
          <p:nvPr/>
        </p:nvSpPr>
        <p:spPr>
          <a:xfrm>
            <a:off x="927559" y="5244147"/>
            <a:ext cx="1033688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hr-HR" dirty="0">
                <a:latin typeface="Arial" panose="020B0604020202020204" pitchFamily="34" charset="0"/>
                <a:cs typeface="Arial" panose="020B0604020202020204" pitchFamily="34" charset="0"/>
              </a:rPr>
              <a:t>Primopredaja 64 otvorena akta koji se odnose na područje Zagrebačke županije, Sisačko-moslavačke županije i Karlovačke županije izvršena je na dan 24.12.2021. godine.</a:t>
            </a:r>
          </a:p>
        </p:txBody>
      </p:sp>
    </p:spTree>
    <p:extLst>
      <p:ext uri="{BB962C8B-B14F-4D97-AF65-F5344CB8AC3E}">
        <p14:creationId xmlns:p14="http://schemas.microsoft.com/office/powerpoint/2010/main" val="314235471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C914FAA-0421-443B-BE81-8D534ED4F5D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C914FAA-0421-443B-BE81-8D534ED4F5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Slika 3">
            <a:extLst>
              <a:ext uri="{FF2B5EF4-FFF2-40B4-BE49-F238E27FC236}">
                <a16:creationId xmlns:a16="http://schemas.microsoft.com/office/drawing/2014/main" id="{5D968E74-F8FD-42BA-AAB2-1EA106274FE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741079" y="234566"/>
            <a:ext cx="1219200" cy="881909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DBB683BC-C3A5-47BE-A1C8-25DD5474C519}"/>
              </a:ext>
            </a:extLst>
          </p:cNvPr>
          <p:cNvSpPr txBox="1">
            <a:spLocks/>
          </p:cNvSpPr>
          <p:nvPr/>
        </p:nvSpPr>
        <p:spPr>
          <a:xfrm>
            <a:off x="734361" y="234566"/>
            <a:ext cx="10136840" cy="77142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/>
            <a:r>
              <a:rPr lang="hr-HR" sz="24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nistarstvo prostornoga uređenja, graditeljstva i državne imovine</a:t>
            </a:r>
            <a:endParaRPr lang="pl-PL" sz="2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pl-PL" sz="24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uktura zaprimljenih zahtjeva po nadležnim tijelima za provođenje</a:t>
            </a:r>
            <a:endParaRPr lang="hr-HR" sz="24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B74E1E2-4BF3-49AF-8C2E-0DF2313EEE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2E2A02-C0F9-B34B-A9CA-09BF5C033E13}" type="slidenum">
              <a:rPr lang="hr-HR" smtClean="0"/>
              <a:t>4</a:t>
            </a:fld>
            <a:endParaRPr lang="hr-HR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3BA78D4-5692-48FB-8B41-00544112DFCA}"/>
              </a:ext>
            </a:extLst>
          </p:cNvPr>
          <p:cNvSpPr txBox="1"/>
          <p:nvPr/>
        </p:nvSpPr>
        <p:spPr>
          <a:xfrm>
            <a:off x="1061080" y="3303094"/>
            <a:ext cx="347914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r-HR" sz="1400" b="1" i="0" u="none" strike="noStrike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GRAD ZAGREB</a:t>
            </a:r>
          </a:p>
          <a:p>
            <a:pPr algn="ctr"/>
            <a:r>
              <a:rPr lang="hr-HR" sz="1400" b="1" dirty="0">
                <a:latin typeface="Arial" panose="020B0604020202020204" pitchFamily="34" charset="0"/>
                <a:cs typeface="Arial" panose="020B0604020202020204" pitchFamily="34" charset="0"/>
              </a:rPr>
              <a:t>KRAPINSKO-ZAGORSKA ŽUPANIJA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800B422-0933-4B9B-95BA-14420841C10F}"/>
              </a:ext>
            </a:extLst>
          </p:cNvPr>
          <p:cNvSpPr txBox="1"/>
          <p:nvPr/>
        </p:nvSpPr>
        <p:spPr>
          <a:xfrm>
            <a:off x="7490086" y="4786689"/>
            <a:ext cx="386059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r-HR" sz="1400" b="1" dirty="0">
                <a:latin typeface="Arial" panose="020B0604020202020204" pitchFamily="34" charset="0"/>
                <a:cs typeface="Arial" panose="020B0604020202020204" pitchFamily="34" charset="0"/>
              </a:rPr>
              <a:t>SISAČKO-MOSLAVAČKA ŽUPANIJA</a:t>
            </a:r>
          </a:p>
          <a:p>
            <a:pPr algn="ctr"/>
            <a:r>
              <a:rPr lang="hr-HR" sz="1400" b="1" dirty="0">
                <a:latin typeface="Arial" panose="020B0604020202020204" pitchFamily="34" charset="0"/>
                <a:cs typeface="Arial" panose="020B0604020202020204" pitchFamily="34" charset="0"/>
              </a:rPr>
              <a:t>ZAGREBAČKA ŽUPANIJA</a:t>
            </a:r>
          </a:p>
          <a:p>
            <a:pPr algn="ctr"/>
            <a:r>
              <a:rPr lang="hr-HR" sz="1400" b="1" dirty="0">
                <a:latin typeface="Arial" panose="020B0604020202020204" pitchFamily="34" charset="0"/>
                <a:cs typeface="Arial" panose="020B0604020202020204" pitchFamily="34" charset="0"/>
              </a:rPr>
              <a:t>KARLOVAČKA ŽUPANIJA</a:t>
            </a:r>
            <a:endParaRPr lang="hr-HR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3DF15E2-A655-411F-9204-BF61BAA24AB5}"/>
              </a:ext>
            </a:extLst>
          </p:cNvPr>
          <p:cNvSpPr txBox="1"/>
          <p:nvPr/>
        </p:nvSpPr>
        <p:spPr>
          <a:xfrm>
            <a:off x="627401" y="5982811"/>
            <a:ext cx="1072327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r-HR" sz="1200" dirty="0">
                <a:latin typeface="Arial" panose="020B0604020202020204" pitchFamily="34" charset="0"/>
                <a:cs typeface="Arial" panose="020B0604020202020204" pitchFamily="34" charset="0"/>
              </a:rPr>
              <a:t>Rješenja za oslobođenje osiguranja odnosno uplate sredstava za konstrukcijsku obnovu zgrada i gradnju zamjenske obiteljske kuće (Obrazac 1) dostavljaju se direktno podnositeljima zahtjeva</a:t>
            </a:r>
          </a:p>
          <a:p>
            <a:endParaRPr lang="hr-HR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260B7202-CB5E-4EBC-92A6-19578B3D3B6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85039243"/>
              </p:ext>
            </p:extLst>
          </p:nvPr>
        </p:nvGraphicFramePr>
        <p:xfrm>
          <a:off x="3821133" y="1116475"/>
          <a:ext cx="4549734" cy="52398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372503411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C914FAA-0421-443B-BE81-8D534ED4F5D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C914FAA-0421-443B-BE81-8D534ED4F5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Slika 3">
            <a:extLst>
              <a:ext uri="{FF2B5EF4-FFF2-40B4-BE49-F238E27FC236}">
                <a16:creationId xmlns:a16="http://schemas.microsoft.com/office/drawing/2014/main" id="{5D968E74-F8FD-42BA-AAB2-1EA106274FE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741079" y="234566"/>
            <a:ext cx="1219200" cy="881909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DBB683BC-C3A5-47BE-A1C8-25DD5474C519}"/>
              </a:ext>
            </a:extLst>
          </p:cNvPr>
          <p:cNvSpPr txBox="1">
            <a:spLocks/>
          </p:cNvSpPr>
          <p:nvPr/>
        </p:nvSpPr>
        <p:spPr>
          <a:xfrm>
            <a:off x="734360" y="2253"/>
            <a:ext cx="10006719" cy="74643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hr-HR" sz="2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hr-HR" sz="24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nistarstvo prostornoga uređenja, graditeljstva i državne imovine Obrada zahtjeva za Grad Zagreb i Krapinsko-zagorsku županiju</a:t>
            </a:r>
            <a:endParaRPr lang="hr-HR" sz="24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B74E1E2-4BF3-49AF-8C2E-0DF2313EEE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2E2A02-C0F9-B34B-A9CA-09BF5C033E13}" type="slidenum">
              <a:rPr lang="hr-HR" smtClean="0"/>
              <a:t>5</a:t>
            </a:fld>
            <a:endParaRPr lang="hr-HR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CBBC238-03C3-4FC4-BE44-A75175258644}"/>
              </a:ext>
            </a:extLst>
          </p:cNvPr>
          <p:cNvSpPr txBox="1"/>
          <p:nvPr/>
        </p:nvSpPr>
        <p:spPr>
          <a:xfrm>
            <a:off x="627400" y="6433622"/>
            <a:ext cx="107232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r-HR" sz="1200" dirty="0">
                <a:latin typeface="Arial" panose="020B0604020202020204" pitchFamily="34" charset="0"/>
                <a:cs typeface="Arial" panose="020B0604020202020204" pitchFamily="34" charset="0"/>
              </a:rPr>
              <a:t>Izvor: Izvješće MPGI 28. siječnja 2022. godine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BCF9FC3A-C65E-4A26-80DE-0DA579E0ED0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56112413"/>
              </p:ext>
            </p:extLst>
          </p:nvPr>
        </p:nvGraphicFramePr>
        <p:xfrm>
          <a:off x="680879" y="1011764"/>
          <a:ext cx="10616320" cy="5305950"/>
        </p:xfrm>
        <a:graphic>
          <a:graphicData uri="http://schemas.openxmlformats.org/drawingml/2006/table">
            <a:tbl>
              <a:tblPr>
                <a:tableStyleId>{D113A9D2-9D6B-4929-AA2D-F23B5EE8CBE7}</a:tableStyleId>
              </a:tblPr>
              <a:tblGrid>
                <a:gridCol w="3700426">
                  <a:extLst>
                    <a:ext uri="{9D8B030D-6E8A-4147-A177-3AD203B41FA5}">
                      <a16:colId xmlns:a16="http://schemas.microsoft.com/office/drawing/2014/main" val="1033218253"/>
                    </a:ext>
                  </a:extLst>
                </a:gridCol>
                <a:gridCol w="1152649">
                  <a:extLst>
                    <a:ext uri="{9D8B030D-6E8A-4147-A177-3AD203B41FA5}">
                      <a16:colId xmlns:a16="http://schemas.microsoft.com/office/drawing/2014/main" val="3455953906"/>
                    </a:ext>
                  </a:extLst>
                </a:gridCol>
                <a:gridCol w="1152649">
                  <a:extLst>
                    <a:ext uri="{9D8B030D-6E8A-4147-A177-3AD203B41FA5}">
                      <a16:colId xmlns:a16="http://schemas.microsoft.com/office/drawing/2014/main" val="254642199"/>
                    </a:ext>
                  </a:extLst>
                </a:gridCol>
                <a:gridCol w="1152649">
                  <a:extLst>
                    <a:ext uri="{9D8B030D-6E8A-4147-A177-3AD203B41FA5}">
                      <a16:colId xmlns:a16="http://schemas.microsoft.com/office/drawing/2014/main" val="4184176581"/>
                    </a:ext>
                  </a:extLst>
                </a:gridCol>
                <a:gridCol w="1152649">
                  <a:extLst>
                    <a:ext uri="{9D8B030D-6E8A-4147-A177-3AD203B41FA5}">
                      <a16:colId xmlns:a16="http://schemas.microsoft.com/office/drawing/2014/main" val="2835237648"/>
                    </a:ext>
                  </a:extLst>
                </a:gridCol>
                <a:gridCol w="1152649">
                  <a:extLst>
                    <a:ext uri="{9D8B030D-6E8A-4147-A177-3AD203B41FA5}">
                      <a16:colId xmlns:a16="http://schemas.microsoft.com/office/drawing/2014/main" val="3273053241"/>
                    </a:ext>
                  </a:extLst>
                </a:gridCol>
                <a:gridCol w="1152649">
                  <a:extLst>
                    <a:ext uri="{9D8B030D-6E8A-4147-A177-3AD203B41FA5}">
                      <a16:colId xmlns:a16="http://schemas.microsoft.com/office/drawing/2014/main" val="643908683"/>
                    </a:ext>
                  </a:extLst>
                </a:gridCol>
              </a:tblGrid>
              <a:tr h="36000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hr-HR" sz="1100" u="none" strike="noStrike" dirty="0">
                          <a:effectLst/>
                        </a:rPr>
                        <a:t>VRSTA OBNOVE</a:t>
                      </a:r>
                      <a:endParaRPr lang="hr-HR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t"/>
                      <a:r>
                        <a:rPr lang="hr-HR" sz="1100" u="none" strike="noStrike" dirty="0">
                          <a:effectLst/>
                        </a:rPr>
                        <a:t>UKUPNO FZO</a:t>
                      </a:r>
                      <a:endParaRPr lang="hr-HR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hr-H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t"/>
                      <a:r>
                        <a:rPr lang="hr-HR" sz="1100" u="none" strike="noStrike" dirty="0">
                          <a:effectLst/>
                        </a:rPr>
                        <a:t>GRAD ZAGREB</a:t>
                      </a:r>
                      <a:endParaRPr lang="hr-HR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hr-H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t"/>
                      <a:r>
                        <a:rPr lang="hr-HR" sz="1100" u="none" strike="noStrike" dirty="0">
                          <a:effectLst/>
                        </a:rPr>
                        <a:t>KRAPINSKO-ZAGORSKA ŽUPANIJA</a:t>
                      </a:r>
                      <a:endParaRPr lang="hr-HR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hr-H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08553022"/>
                  </a:ext>
                </a:extLst>
              </a:tr>
              <a:tr h="407938">
                <a:tc vMerge="1">
                  <a:txBody>
                    <a:bodyPr/>
                    <a:lstStyle/>
                    <a:p>
                      <a:endParaRPr lang="hr-H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100" u="none" strike="noStrike" dirty="0">
                          <a:effectLst/>
                        </a:rPr>
                        <a:t>BROJ PODNESENIH ZAHTJEVA</a:t>
                      </a:r>
                      <a:endParaRPr lang="hr-HR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100" u="none" strike="noStrike" dirty="0">
                          <a:effectLst/>
                        </a:rPr>
                        <a:t>ODLUKA I PRIVREMENIH ODLUKA</a:t>
                      </a:r>
                      <a:endParaRPr lang="hr-HR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100" u="none" strike="noStrike" dirty="0">
                          <a:effectLst/>
                        </a:rPr>
                        <a:t>BROJ PODNESENIH ZAHTJEVA</a:t>
                      </a:r>
                      <a:endParaRPr lang="hr-HR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100" u="none" strike="noStrike" dirty="0">
                          <a:effectLst/>
                        </a:rPr>
                        <a:t>ODLUKA I PRIVREMENIH ODLUKA</a:t>
                      </a:r>
                      <a:endParaRPr lang="hr-HR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100" u="none" strike="noStrike" dirty="0">
                          <a:effectLst/>
                        </a:rPr>
                        <a:t>BROJ PODNESENIH ZAHTJEVA</a:t>
                      </a:r>
                      <a:endParaRPr lang="hr-HR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100" u="none" strike="noStrike" dirty="0">
                          <a:effectLst/>
                        </a:rPr>
                        <a:t>ODLUKA I PRIVREMENIH ODLUKA</a:t>
                      </a:r>
                      <a:endParaRPr lang="hr-HR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611841"/>
                  </a:ext>
                </a:extLst>
              </a:tr>
              <a:tr h="407938">
                <a:tc>
                  <a:txBody>
                    <a:bodyPr/>
                    <a:lstStyle/>
                    <a:p>
                      <a:pPr marL="108000" algn="l" fontAlgn="ctr"/>
                      <a:r>
                        <a:rPr lang="hr-HR" sz="1100" u="none" strike="noStrike" dirty="0">
                          <a:effectLst/>
                        </a:rPr>
                        <a:t>OBRAZAC 2 - Zahtjev za obnovu potresom oštećene postojeće zgrade</a:t>
                      </a:r>
                      <a:endParaRPr lang="hr-H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.17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81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.08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70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135750804"/>
                  </a:ext>
                </a:extLst>
              </a:tr>
              <a:tr h="407938">
                <a:tc>
                  <a:txBody>
                    <a:bodyPr/>
                    <a:lstStyle/>
                    <a:p>
                      <a:pPr marL="108000" algn="l" fontAlgn="ctr"/>
                      <a:r>
                        <a:rPr lang="hr-HR" sz="1100" u="none" strike="noStrike" dirty="0">
                          <a:effectLst/>
                        </a:rPr>
                        <a:t>OBRAZAC 3 - Zahtjev za uklanjanje potresom uništene višestambene zgrade, stambeno-poslovne zgrade, poslovne zgrade i obiteljske kuće</a:t>
                      </a:r>
                      <a:endParaRPr lang="hr-H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9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6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426463804"/>
                  </a:ext>
                </a:extLst>
              </a:tr>
              <a:tr h="543917">
                <a:tc>
                  <a:txBody>
                    <a:bodyPr/>
                    <a:lstStyle/>
                    <a:p>
                      <a:pPr marL="108000" algn="l" fontAlgn="ctr"/>
                      <a:r>
                        <a:rPr lang="hr-HR" sz="1100" u="none" strike="noStrike" dirty="0">
                          <a:effectLst/>
                        </a:rPr>
                        <a:t>OBRAZAC 4 - zahtjeva za gradnju zamjenske obiteljske kuće</a:t>
                      </a:r>
                      <a:endParaRPr lang="hr-H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4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946969445"/>
                  </a:ext>
                </a:extLst>
              </a:tr>
              <a:tr h="311438">
                <a:tc>
                  <a:txBody>
                    <a:bodyPr/>
                    <a:lstStyle/>
                    <a:p>
                      <a:pPr marL="108000" algn="l" fontAlgn="ctr"/>
                      <a:r>
                        <a:rPr lang="nn-NO" sz="1100" u="none" strike="noStrike" dirty="0">
                          <a:effectLst/>
                        </a:rPr>
                        <a:t>ODLUKA O OBNOVI - Uklanjanje i gradnja zamjenske obiteljske kuće</a:t>
                      </a:r>
                      <a:endParaRPr lang="nn-NO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241041459"/>
                  </a:ext>
                </a:extLst>
              </a:tr>
              <a:tr h="543917">
                <a:tc>
                  <a:txBody>
                    <a:bodyPr/>
                    <a:lstStyle/>
                    <a:p>
                      <a:pPr marL="108000" algn="l" fontAlgn="ctr"/>
                      <a:r>
                        <a:rPr lang="hr-HR" sz="1100" u="none" strike="noStrike" dirty="0">
                          <a:effectLst/>
                        </a:rPr>
                        <a:t>OBRAZAC 5 - Zahtjev za novčanu pomoć za privremenu zaštitu potresom oštećene postojeće višestambene zgrade, stambeno-poslovne zgrade, poslovne zgrade, obiteljske kuće</a:t>
                      </a:r>
                      <a:endParaRPr lang="hr-HR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.34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27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.32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25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778481653"/>
                  </a:ext>
                </a:extLst>
              </a:tr>
              <a:tr h="407938">
                <a:tc>
                  <a:txBody>
                    <a:bodyPr/>
                    <a:lstStyle/>
                    <a:p>
                      <a:pPr marL="108000" algn="l" fontAlgn="ctr"/>
                      <a:r>
                        <a:rPr lang="hr-HR" sz="1100" u="none" strike="noStrike" dirty="0">
                          <a:effectLst/>
                        </a:rPr>
                        <a:t>OBRAZAC 6 - Zahtjev za novčanu pomoć za konstrukcijsku obnovu potresom oštećene postojeće zgrade</a:t>
                      </a:r>
                      <a:endParaRPr lang="hr-HR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34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33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785543633"/>
                  </a:ext>
                </a:extLst>
              </a:tr>
              <a:tr h="271959">
                <a:tc>
                  <a:txBody>
                    <a:bodyPr/>
                    <a:lstStyle/>
                    <a:p>
                      <a:pPr marL="108000" algn="l" fontAlgn="ctr"/>
                      <a:r>
                        <a:rPr lang="hr-HR" sz="1100" u="none" strike="noStrike" dirty="0">
                          <a:effectLst/>
                        </a:rPr>
                        <a:t>OBRAZAC 7 - Zahtjev za novčanu pomoć umjesto gradnje zamjenske obiteljske kuće </a:t>
                      </a:r>
                      <a:endParaRPr lang="hr-HR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535750763"/>
                  </a:ext>
                </a:extLst>
              </a:tr>
              <a:tr h="543917">
                <a:tc>
                  <a:txBody>
                    <a:bodyPr/>
                    <a:lstStyle/>
                    <a:p>
                      <a:pPr marL="108000" algn="l" fontAlgn="ctr"/>
                      <a:r>
                        <a:rPr lang="hr-HR" sz="1100" u="none" strike="noStrike" dirty="0">
                          <a:effectLst/>
                        </a:rPr>
                        <a:t>OBRAZAC 8 - Zahtjev za novčanu pomoć za troškove izrade glavnog projekta za rekonstrukciju potresom oštećene postojeće višestambene zgrade, stambeno-poslovne zgrade, obiteljske kuće</a:t>
                      </a:r>
                      <a:endParaRPr lang="hr-HR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4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4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770021380"/>
                  </a:ext>
                </a:extLst>
              </a:tr>
              <a:tr h="271959">
                <a:tc>
                  <a:txBody>
                    <a:bodyPr/>
                    <a:lstStyle/>
                    <a:p>
                      <a:pPr marL="108000" algn="l" fontAlgn="ctr"/>
                      <a:r>
                        <a:rPr lang="pl-PL" sz="1100" u="none" strike="noStrike" dirty="0">
                          <a:effectLst/>
                        </a:rPr>
                        <a:t>OBRASCI po Zakonu o izmjenama i dopunama Zakona o obnovi (NN 117/2021)</a:t>
                      </a:r>
                      <a:endParaRPr lang="pl-PL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38183139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108000" algn="l" fontAlgn="b"/>
                      <a:r>
                        <a:rPr lang="hr-HR" sz="1100" u="none" strike="noStrike" dirty="0">
                          <a:effectLst/>
                        </a:rPr>
                        <a:t>UKUPNO:</a:t>
                      </a:r>
                      <a:endParaRPr lang="hr-H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3.75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484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3.55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463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9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14710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7470479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C914FAA-0421-443B-BE81-8D534ED4F5D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C914FAA-0421-443B-BE81-8D534ED4F5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Slika 3">
            <a:extLst>
              <a:ext uri="{FF2B5EF4-FFF2-40B4-BE49-F238E27FC236}">
                <a16:creationId xmlns:a16="http://schemas.microsoft.com/office/drawing/2014/main" id="{5D968E74-F8FD-42BA-AAB2-1EA106274FE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741079" y="234566"/>
            <a:ext cx="1219200" cy="881909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DBB683BC-C3A5-47BE-A1C8-25DD5474C519}"/>
              </a:ext>
            </a:extLst>
          </p:cNvPr>
          <p:cNvSpPr txBox="1">
            <a:spLocks/>
          </p:cNvSpPr>
          <p:nvPr/>
        </p:nvSpPr>
        <p:spPr>
          <a:xfrm>
            <a:off x="723900" y="188878"/>
            <a:ext cx="10017179" cy="103887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r-HR" sz="20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jesečna dinamika donošenja akata za sve županije u 2021. godini</a:t>
            </a:r>
          </a:p>
          <a:p>
            <a:r>
              <a:rPr lang="hr-HR" sz="2000" u="sng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 Ministarstvu prostornog uređenja, graditeljstva i državne imovin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323BBC-4E5A-4E45-8CCA-EE479568F9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2E2A02-C0F9-B34B-A9CA-09BF5C033E13}" type="slidenum">
              <a:rPr lang="hr-HR" smtClean="0"/>
              <a:t>6</a:t>
            </a:fld>
            <a:endParaRPr lang="hr-HR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33A2F04-3610-46F6-A70C-25B1D60D6665}"/>
              </a:ext>
            </a:extLst>
          </p:cNvPr>
          <p:cNvSpPr txBox="1"/>
          <p:nvPr/>
        </p:nvSpPr>
        <p:spPr>
          <a:xfrm>
            <a:off x="627400" y="6400412"/>
            <a:ext cx="107232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r-HR" sz="1800" b="0" i="0" u="none" strike="noStrike">
                <a:solidFill>
                  <a:srgbClr val="FFFFFF"/>
                </a:solidFill>
                <a:effectLst/>
                <a:latin typeface="Calibri" panose="020F0502020204030204" pitchFamily="34" charset="0"/>
              </a:rPr>
              <a:t>15.886</a:t>
            </a:r>
            <a:r>
              <a:rPr lang="hr-HR" sz="1200"/>
              <a:t> </a:t>
            </a:r>
            <a:endParaRPr lang="hr-HR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D9E6BB2-7563-4B2B-8E56-800FCB639B42}"/>
              </a:ext>
            </a:extLst>
          </p:cNvPr>
          <p:cNvSpPr txBox="1"/>
          <p:nvPr/>
        </p:nvSpPr>
        <p:spPr>
          <a:xfrm>
            <a:off x="6758126" y="1067291"/>
            <a:ext cx="370494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r-HR" dirty="0"/>
              <a:t>30. listopada 2021.</a:t>
            </a:r>
          </a:p>
          <a:p>
            <a:pPr algn="ctr"/>
            <a:r>
              <a:rPr lang="hr-HR" dirty="0"/>
              <a:t>Zakon o izmjenama i dopunama Zakona o obnovi</a:t>
            </a:r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A61EF00E-0168-471F-98F0-7F13231B857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72118927"/>
              </p:ext>
            </p:extLst>
          </p:nvPr>
        </p:nvGraphicFramePr>
        <p:xfrm>
          <a:off x="734361" y="1830161"/>
          <a:ext cx="10723278" cy="44149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373796508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C914FAA-0421-443B-BE81-8D534ED4F5D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C914FAA-0421-443B-BE81-8D534ED4F5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Slika 3">
            <a:extLst>
              <a:ext uri="{FF2B5EF4-FFF2-40B4-BE49-F238E27FC236}">
                <a16:creationId xmlns:a16="http://schemas.microsoft.com/office/drawing/2014/main" id="{5D968E74-F8FD-42BA-AAB2-1EA106274FE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741079" y="234566"/>
            <a:ext cx="1219200" cy="881909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DBB683BC-C3A5-47BE-A1C8-25DD5474C519}"/>
              </a:ext>
            </a:extLst>
          </p:cNvPr>
          <p:cNvSpPr txBox="1">
            <a:spLocks/>
          </p:cNvSpPr>
          <p:nvPr/>
        </p:nvSpPr>
        <p:spPr>
          <a:xfrm>
            <a:off x="723900" y="188878"/>
            <a:ext cx="10017179" cy="103887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r-HR" sz="20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jesečna dinamika zaprimanja akata u 2021. godini</a:t>
            </a:r>
          </a:p>
          <a:p>
            <a:r>
              <a:rPr lang="hr-HR" sz="2000" u="sng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 Fond za obnovu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323BBC-4E5A-4E45-8CCA-EE479568F9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2E2A02-C0F9-B34B-A9CA-09BF5C033E13}" type="slidenum">
              <a:rPr lang="hr-HR" smtClean="0"/>
              <a:t>7</a:t>
            </a:fld>
            <a:endParaRPr lang="hr-HR"/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FA3C066B-2122-4F57-8666-6120EE89102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92872398"/>
              </p:ext>
            </p:extLst>
          </p:nvPr>
        </p:nvGraphicFramePr>
        <p:xfrm>
          <a:off x="1183800" y="1551776"/>
          <a:ext cx="9824400" cy="4413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F7EB435-0DFD-48D9-A2FB-9B15CAB8E2F8}"/>
              </a:ext>
            </a:extLst>
          </p:cNvPr>
          <p:cNvCxnSpPr/>
          <p:nvPr/>
        </p:nvCxnSpPr>
        <p:spPr>
          <a:xfrm>
            <a:off x="8403543" y="1736923"/>
            <a:ext cx="0" cy="3706213"/>
          </a:xfrm>
          <a:prstGeom prst="line">
            <a:avLst/>
          </a:prstGeom>
          <a:ln w="5715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BEA71ED2-E576-45D2-A48C-5D269114352A}"/>
              </a:ext>
            </a:extLst>
          </p:cNvPr>
          <p:cNvSpPr txBox="1"/>
          <p:nvPr/>
        </p:nvSpPr>
        <p:spPr>
          <a:xfrm>
            <a:off x="6551069" y="830262"/>
            <a:ext cx="370494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r-HR" dirty="0"/>
              <a:t>30. listopada 2021.</a:t>
            </a:r>
          </a:p>
          <a:p>
            <a:pPr algn="ctr"/>
            <a:r>
              <a:rPr lang="hr-HR" dirty="0"/>
              <a:t>Zakon o izmjenama i dopunama Zakona o obnovi</a:t>
            </a:r>
          </a:p>
        </p:txBody>
      </p:sp>
      <p:sp>
        <p:nvSpPr>
          <p:cNvPr id="11" name="Arrow: Right 10">
            <a:extLst>
              <a:ext uri="{FF2B5EF4-FFF2-40B4-BE49-F238E27FC236}">
                <a16:creationId xmlns:a16="http://schemas.microsoft.com/office/drawing/2014/main" id="{2CCBAB16-14F4-48D3-92DF-7AB9BB4A380C}"/>
              </a:ext>
            </a:extLst>
          </p:cNvPr>
          <p:cNvSpPr/>
          <p:nvPr/>
        </p:nvSpPr>
        <p:spPr>
          <a:xfrm>
            <a:off x="8610600" y="1791465"/>
            <a:ext cx="970671" cy="15533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sr-Latn-RS"/>
          </a:p>
        </p:txBody>
      </p:sp>
    </p:spTree>
    <p:extLst>
      <p:ext uri="{BB962C8B-B14F-4D97-AF65-F5344CB8AC3E}">
        <p14:creationId xmlns:p14="http://schemas.microsoft.com/office/powerpoint/2010/main" val="39680511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C914FAA-0421-443B-BE81-8D534ED4F5D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C914FAA-0421-443B-BE81-8D534ED4F5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Slika 3">
            <a:extLst>
              <a:ext uri="{FF2B5EF4-FFF2-40B4-BE49-F238E27FC236}">
                <a16:creationId xmlns:a16="http://schemas.microsoft.com/office/drawing/2014/main" id="{5D968E74-F8FD-42BA-AAB2-1EA106274FE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741079" y="234566"/>
            <a:ext cx="1219200" cy="881909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DBB683BC-C3A5-47BE-A1C8-25DD5474C519}"/>
              </a:ext>
            </a:extLst>
          </p:cNvPr>
          <p:cNvSpPr txBox="1">
            <a:spLocks/>
          </p:cNvSpPr>
          <p:nvPr/>
        </p:nvSpPr>
        <p:spPr>
          <a:xfrm>
            <a:off x="734360" y="509341"/>
            <a:ext cx="11457633" cy="49665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r-HR" sz="36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nd za obnovu - Izvršenje akata</a:t>
            </a:r>
            <a:endParaRPr lang="hr-HR" sz="3600" dirty="0"/>
          </a:p>
        </p:txBody>
      </p:sp>
      <p:graphicFrame>
        <p:nvGraphicFramePr>
          <p:cNvPr id="23" name="Chart 22">
            <a:extLst>
              <a:ext uri="{FF2B5EF4-FFF2-40B4-BE49-F238E27FC236}">
                <a16:creationId xmlns:a16="http://schemas.microsoft.com/office/drawing/2014/main" id="{4BCE6347-FB54-42DB-ABF5-33DB3A6B6D4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11159882"/>
              </p:ext>
            </p:extLst>
          </p:nvPr>
        </p:nvGraphicFramePr>
        <p:xfrm>
          <a:off x="6637924" y="1463040"/>
          <a:ext cx="4303191" cy="4292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4" name="Chart 23">
            <a:extLst>
              <a:ext uri="{FF2B5EF4-FFF2-40B4-BE49-F238E27FC236}">
                <a16:creationId xmlns:a16="http://schemas.microsoft.com/office/drawing/2014/main" id="{69A91F57-2872-4B9B-B34C-9BF8AB2967E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90756319"/>
              </p:ext>
            </p:extLst>
          </p:nvPr>
        </p:nvGraphicFramePr>
        <p:xfrm>
          <a:off x="1026942" y="1463040"/>
          <a:ext cx="4863441" cy="4292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3245424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C914FAA-0421-443B-BE81-8D534ED4F5D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C914FAA-0421-443B-BE81-8D534ED4F5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Slika 3">
            <a:extLst>
              <a:ext uri="{FF2B5EF4-FFF2-40B4-BE49-F238E27FC236}">
                <a16:creationId xmlns:a16="http://schemas.microsoft.com/office/drawing/2014/main" id="{5D968E74-F8FD-42BA-AAB2-1EA106274FE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741079" y="234566"/>
            <a:ext cx="1219200" cy="881909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DBB683BC-C3A5-47BE-A1C8-25DD5474C519}"/>
              </a:ext>
            </a:extLst>
          </p:cNvPr>
          <p:cNvSpPr txBox="1">
            <a:spLocks/>
          </p:cNvSpPr>
          <p:nvPr/>
        </p:nvSpPr>
        <p:spPr>
          <a:xfrm>
            <a:off x="734367" y="467138"/>
            <a:ext cx="11457633" cy="49665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r-HR" sz="32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nd za obnovu - Izvršenje Odluka i rješenj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B74E1E2-4BF3-49AF-8C2E-0DF2313EEE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2E2A02-C0F9-B34B-A9CA-09BF5C033E13}" type="slidenum">
              <a:rPr lang="hr-HR" smtClean="0"/>
              <a:t>9</a:t>
            </a:fld>
            <a:endParaRPr lang="hr-HR"/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852F701E-DB8D-4256-ABAD-BCC971172BB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24645752"/>
              </p:ext>
            </p:extLst>
          </p:nvPr>
        </p:nvGraphicFramePr>
        <p:xfrm>
          <a:off x="787844" y="1437005"/>
          <a:ext cx="10616313" cy="4779650"/>
        </p:xfrm>
        <a:graphic>
          <a:graphicData uri="http://schemas.openxmlformats.org/drawingml/2006/table">
            <a:tbl>
              <a:tblPr>
                <a:tableStyleId>{D113A9D2-9D6B-4929-AA2D-F23B5EE8CBE7}</a:tableStyleId>
              </a:tblPr>
              <a:tblGrid>
                <a:gridCol w="7028340">
                  <a:extLst>
                    <a:ext uri="{9D8B030D-6E8A-4147-A177-3AD203B41FA5}">
                      <a16:colId xmlns:a16="http://schemas.microsoft.com/office/drawing/2014/main" val="1548287892"/>
                    </a:ext>
                  </a:extLst>
                </a:gridCol>
                <a:gridCol w="1446764">
                  <a:extLst>
                    <a:ext uri="{9D8B030D-6E8A-4147-A177-3AD203B41FA5}">
                      <a16:colId xmlns:a16="http://schemas.microsoft.com/office/drawing/2014/main" val="3424962379"/>
                    </a:ext>
                  </a:extLst>
                </a:gridCol>
                <a:gridCol w="1168722">
                  <a:extLst>
                    <a:ext uri="{9D8B030D-6E8A-4147-A177-3AD203B41FA5}">
                      <a16:colId xmlns:a16="http://schemas.microsoft.com/office/drawing/2014/main" val="2557363910"/>
                    </a:ext>
                  </a:extLst>
                </a:gridCol>
                <a:gridCol w="972487">
                  <a:extLst>
                    <a:ext uri="{9D8B030D-6E8A-4147-A177-3AD203B41FA5}">
                      <a16:colId xmlns:a16="http://schemas.microsoft.com/office/drawing/2014/main" val="1381242107"/>
                    </a:ext>
                  </a:extLst>
                </a:gridCol>
              </a:tblGrid>
              <a:tr h="937008">
                <a:tc>
                  <a:txBody>
                    <a:bodyPr/>
                    <a:lstStyle/>
                    <a:p>
                      <a:pPr algn="ctr" fontAlgn="ctr"/>
                      <a:r>
                        <a:rPr lang="hr-HR" sz="2000" u="none" strike="noStrike" dirty="0">
                          <a:effectLst/>
                        </a:rPr>
                        <a:t>ODLUKE PO TIPU</a:t>
                      </a:r>
                      <a:endParaRPr lang="hr-HR" sz="20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2000" u="none" strike="noStrike" dirty="0">
                          <a:effectLst/>
                        </a:rPr>
                        <a:t>ODLUKA</a:t>
                      </a:r>
                      <a:endParaRPr lang="hr-HR" sz="20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2000" u="none" strike="noStrike" dirty="0">
                          <a:effectLst/>
                        </a:rPr>
                        <a:t>ODLUKA IZVRŠENA</a:t>
                      </a:r>
                      <a:endParaRPr lang="hr-HR" sz="20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2000" u="none" strike="noStrike" dirty="0">
                          <a:effectLst/>
                        </a:rPr>
                        <a:t>UDIO</a:t>
                      </a:r>
                      <a:endParaRPr lang="hr-HR" sz="20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960577"/>
                  </a:ext>
                </a:extLst>
              </a:tr>
              <a:tr h="364493">
                <a:tc>
                  <a:txBody>
                    <a:bodyPr/>
                    <a:lstStyle/>
                    <a:p>
                      <a:pPr marL="36000" algn="l" fontAlgn="ctr"/>
                      <a:r>
                        <a:rPr lang="pl-PL" sz="2000" u="none" strike="noStrike" dirty="0">
                          <a:effectLst/>
                        </a:rPr>
                        <a:t>Obnova postojeće potresom oštećene obiteljske kuće</a:t>
                      </a:r>
                      <a:endParaRPr lang="pl-PL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2000" u="none" strike="noStrike" dirty="0">
                          <a:effectLst/>
                        </a:rPr>
                        <a:t>66</a:t>
                      </a:r>
                      <a:endParaRPr lang="hr-HR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hr-HR" sz="20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hr-HR" sz="20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97637614"/>
                  </a:ext>
                </a:extLst>
              </a:tr>
              <a:tr h="364493">
                <a:tc>
                  <a:txBody>
                    <a:bodyPr/>
                    <a:lstStyle/>
                    <a:p>
                      <a:pPr marL="36000" algn="l" fontAlgn="ctr"/>
                      <a:r>
                        <a:rPr lang="hr-HR" sz="2000" u="none" strike="noStrike" dirty="0">
                          <a:effectLst/>
                        </a:rPr>
                        <a:t>Obnova postojeće potresom oštećene višestambene zgrade</a:t>
                      </a:r>
                      <a:endParaRPr lang="hr-HR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2000" u="none" strike="noStrike" dirty="0">
                          <a:effectLst/>
                        </a:rPr>
                        <a:t>31</a:t>
                      </a:r>
                      <a:endParaRPr lang="hr-HR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hr-HR" sz="20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hr-HR" sz="20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528970546"/>
                  </a:ext>
                </a:extLst>
              </a:tr>
              <a:tr h="364493">
                <a:tc>
                  <a:txBody>
                    <a:bodyPr/>
                    <a:lstStyle/>
                    <a:p>
                      <a:pPr marL="36000" algn="l" fontAlgn="ctr"/>
                      <a:r>
                        <a:rPr lang="hr-HR" sz="2000" u="none" strike="noStrike" dirty="0">
                          <a:effectLst/>
                        </a:rPr>
                        <a:t>Obnova postojeće potresom oštećene stambeno-poslovne zgrade</a:t>
                      </a:r>
                      <a:endParaRPr lang="hr-HR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2000" u="none" strike="noStrike" dirty="0">
                          <a:effectLst/>
                        </a:rPr>
                        <a:t>18</a:t>
                      </a:r>
                      <a:endParaRPr lang="hr-HR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hr-HR" sz="20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hr-HR" sz="20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514936175"/>
                  </a:ext>
                </a:extLst>
              </a:tr>
              <a:tr h="364493">
                <a:tc>
                  <a:txBody>
                    <a:bodyPr/>
                    <a:lstStyle/>
                    <a:p>
                      <a:pPr marL="36000" algn="l" fontAlgn="ctr"/>
                      <a:r>
                        <a:rPr lang="hr-HR" sz="2000" u="none" strike="noStrike" dirty="0">
                          <a:effectLst/>
                        </a:rPr>
                        <a:t>Uklanjanje postojeće obiteljske kuće </a:t>
                      </a:r>
                      <a:endParaRPr lang="hr-HR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2000" u="none" strike="noStrike" dirty="0">
                          <a:effectLst/>
                        </a:rPr>
                        <a:t>32</a:t>
                      </a:r>
                      <a:endParaRPr lang="hr-HR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2000" u="none" strike="noStrike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2000" u="none" strike="noStrike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2,5%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060449685"/>
                  </a:ext>
                </a:extLst>
              </a:tr>
              <a:tr h="364493">
                <a:tc>
                  <a:txBody>
                    <a:bodyPr/>
                    <a:lstStyle/>
                    <a:p>
                      <a:pPr marL="36000" algn="l" fontAlgn="ctr"/>
                      <a:r>
                        <a:rPr lang="hr-HR" sz="2000" u="none" strike="noStrike" dirty="0">
                          <a:effectLst/>
                        </a:rPr>
                        <a:t>Uklanjanje postojeće stambeno-poslovne zgrade </a:t>
                      </a:r>
                      <a:endParaRPr lang="hr-HR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2000" u="none" strike="noStrike">
                          <a:effectLst/>
                        </a:rPr>
                        <a:t>1</a:t>
                      </a:r>
                      <a:endParaRPr lang="hr-HR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hr-HR" sz="20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hr-HR" sz="20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401610661"/>
                  </a:ext>
                </a:extLst>
              </a:tr>
              <a:tr h="364493">
                <a:tc>
                  <a:txBody>
                    <a:bodyPr/>
                    <a:lstStyle/>
                    <a:p>
                      <a:pPr marL="36000" algn="l" fontAlgn="ctr"/>
                      <a:r>
                        <a:rPr lang="hr-HR" sz="2000" u="none" strike="noStrike" dirty="0">
                          <a:solidFill>
                            <a:schemeClr val="bg1"/>
                          </a:solidFill>
                          <a:effectLst/>
                        </a:rPr>
                        <a:t>Izgradnja zamjenske obiteljske kuće</a:t>
                      </a:r>
                      <a:endParaRPr lang="hr-HR" sz="20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2000" u="none" strike="noStrike" dirty="0">
                          <a:effectLst/>
                        </a:rPr>
                        <a:t>9</a:t>
                      </a:r>
                      <a:endParaRPr lang="hr-HR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hr-HR" sz="20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hr-HR" sz="2000" b="0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377264899"/>
                  </a:ext>
                </a:extLst>
              </a:tr>
              <a:tr h="364493">
                <a:tc>
                  <a:txBody>
                    <a:bodyPr/>
                    <a:lstStyle/>
                    <a:p>
                      <a:pPr marL="36000" algn="l" fontAlgn="ctr"/>
                      <a:r>
                        <a:rPr lang="hr-HR" sz="20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Uklanjanje i izgradnja zamjenske obiteljske kuće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20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hr-HR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hr-HR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228379365"/>
                  </a:ext>
                </a:extLst>
              </a:tr>
              <a:tr h="364493">
                <a:tc>
                  <a:txBody>
                    <a:bodyPr/>
                    <a:lstStyle/>
                    <a:p>
                      <a:pPr marL="36000" algn="l" fontAlgn="ctr"/>
                      <a:r>
                        <a:rPr lang="hr-HR" sz="2000" u="none" strike="noStrike" dirty="0">
                          <a:effectLst/>
                        </a:rPr>
                        <a:t>Novčana pomoć za privremenu zaštitu</a:t>
                      </a:r>
                      <a:endParaRPr lang="hr-HR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2000" u="none" strike="noStrike" dirty="0">
                          <a:effectLst/>
                        </a:rPr>
                        <a:t>230</a:t>
                      </a:r>
                      <a:endParaRPr lang="hr-HR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2000" u="none" strike="noStrike" dirty="0">
                          <a:effectLst/>
                        </a:rPr>
                        <a:t>229</a:t>
                      </a:r>
                      <a:endParaRPr lang="hr-HR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2000" u="none" strike="noStrike" dirty="0">
                          <a:effectLst/>
                        </a:rPr>
                        <a:t>99,6%</a:t>
                      </a:r>
                      <a:endParaRPr lang="hr-HR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970253941"/>
                  </a:ext>
                </a:extLst>
              </a:tr>
              <a:tr h="562205">
                <a:tc>
                  <a:txBody>
                    <a:bodyPr/>
                    <a:lstStyle/>
                    <a:p>
                      <a:pPr marL="36000" algn="l" fontAlgn="ctr"/>
                      <a:r>
                        <a:rPr lang="hr-HR" sz="2000" u="none" strike="noStrike" dirty="0">
                          <a:effectLst/>
                        </a:rPr>
                        <a:t>Rješenja o novčanoj pomoći</a:t>
                      </a:r>
                      <a:endParaRPr lang="hr-HR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2000" u="none" strike="noStrike" dirty="0">
                          <a:effectLst/>
                        </a:rPr>
                        <a:t>766</a:t>
                      </a:r>
                      <a:endParaRPr lang="hr-HR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2000" u="none" strike="noStrike" dirty="0">
                          <a:effectLst/>
                        </a:rPr>
                        <a:t>766</a:t>
                      </a:r>
                      <a:endParaRPr lang="hr-HR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2000" u="none" strike="noStrike" dirty="0">
                          <a:effectLst/>
                        </a:rPr>
                        <a:t>100,0%</a:t>
                      </a:r>
                      <a:endParaRPr lang="hr-HR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682778510"/>
                  </a:ext>
                </a:extLst>
              </a:tr>
              <a:tr h="364493">
                <a:tc>
                  <a:txBody>
                    <a:bodyPr/>
                    <a:lstStyle/>
                    <a:p>
                      <a:pPr marL="36000" algn="l" fontAlgn="ctr"/>
                      <a:r>
                        <a:rPr lang="hr-HR" sz="2000" u="none" strike="noStrike" dirty="0">
                          <a:effectLst/>
                        </a:rPr>
                        <a:t>UKUPNO AKATA</a:t>
                      </a:r>
                      <a:endParaRPr lang="hr-HR" sz="20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2000" u="none" strike="noStrike" dirty="0">
                          <a:effectLst/>
                        </a:rPr>
                        <a:t>1.160</a:t>
                      </a:r>
                      <a:endParaRPr lang="hr-HR" sz="20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2000" u="none" strike="noStrike" dirty="0">
                          <a:effectLst/>
                        </a:rPr>
                        <a:t>1.015</a:t>
                      </a:r>
                      <a:endParaRPr lang="hr-HR" sz="20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r-HR" sz="2000" u="none" strike="noStrike" dirty="0">
                          <a:effectLst/>
                        </a:rPr>
                        <a:t>87,5%</a:t>
                      </a:r>
                      <a:endParaRPr lang="hr-HR" sz="20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924945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364193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083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.%#m.%Y.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050751923EA5F542A13D97F8CC32DF51" ma:contentTypeVersion="12" ma:contentTypeDescription="Stvaranje novog dokumenta." ma:contentTypeScope="" ma:versionID="b10041cd63f21d6d3855d76abe8a89ed">
  <xsd:schema xmlns:xsd="http://www.w3.org/2001/XMLSchema" xmlns:xs="http://www.w3.org/2001/XMLSchema" xmlns:p="http://schemas.microsoft.com/office/2006/metadata/properties" xmlns:ns2="2a10e296-f976-45be-a41e-10e6ca8f2b5f" xmlns:ns3="d439ffd0-4ee3-4e38-b3bc-a248ff5cc3a9" targetNamespace="http://schemas.microsoft.com/office/2006/metadata/properties" ma:root="true" ma:fieldsID="16bf6125ce77e3e2f98aaa52be466106" ns2:_="" ns3:_="">
    <xsd:import namespace="2a10e296-f976-45be-a41e-10e6ca8f2b5f"/>
    <xsd:import namespace="d439ffd0-4ee3-4e38-b3bc-a248ff5cc3a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a10e296-f976-45be-a41e-10e6ca8f2b5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439ffd0-4ee3-4e38-b3bc-a248ff5cc3a9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Zajednički se koristi s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Detalji o zajedničkom korištenju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Vrsta sadržaja"/>
        <xsd:element ref="dc:title" minOccurs="0" maxOccurs="1" ma:index="4" ma:displayName="Naslov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9C58363B-0DF3-4755-9274-52E1FDD1E46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FF93813-09CF-4119-B098-C7AB189C91A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a10e296-f976-45be-a41e-10e6ca8f2b5f"/>
    <ds:schemaRef ds:uri="d439ffd0-4ee3-4e38-b3bc-a248ff5cc3a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34E4B4F-F0A5-41F5-B779-140381929838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624</TotalTime>
  <Words>1617</Words>
  <Application>Microsoft Office PowerPoint</Application>
  <PresentationFormat>Widescreen</PresentationFormat>
  <Paragraphs>519</Paragraphs>
  <Slides>22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27" baseType="lpstr">
      <vt:lpstr>Arial</vt:lpstr>
      <vt:lpstr>Calibri</vt:lpstr>
      <vt:lpstr>Calibri Light</vt:lpstr>
      <vt:lpstr>Office Theme</vt:lpstr>
      <vt:lpstr>think-cell Slide</vt:lpstr>
      <vt:lpstr>FOND ZA OBNOVU  GRADA ZAGREBA, KRAPINSKO-ZAGORSKE ŽUPANIJE I ZAGREBAČKE ŽUPANIJE   Mjesečno izvješće – siječanj 2022.  Zagreb, 31. siječnja 2022. godine v. d. Ravnatelja, Snežana Penović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regled broja i statusa potrebnih aktivnosti za izvršenje zaprimljenih 1.570 akata</vt:lpstr>
      <vt:lpstr>Organizirana obnova nekonstrukcijskih elemenata višestambenih zgrada, stambeno-poslovnih zgrada, poslovnih zgrada i obiteljskih kuća</vt:lpstr>
      <vt:lpstr>PowerPoint Presentation</vt:lpstr>
      <vt:lpstr>PowerPoint Presentation</vt:lpstr>
      <vt:lpstr>Isplate novčanih pomoći za privremenu zaštitu</vt:lpstr>
      <vt:lpstr>Transparentnost - Troškovi Fonda za obnovu</vt:lpstr>
      <vt:lpstr>Jednostavna nabava</vt:lpstr>
      <vt:lpstr>Javna nabava Jednostavna nabava i Dinamički sustavi (DNS)</vt:lpstr>
      <vt:lpstr>Dražbe</vt:lpstr>
      <vt:lpstr>Ugovori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ND ZA OBNOVU  GRADA ZAGREBA, ZAGREBAČKE I KRAPINSKO-ZAGORSKE ŽUPANIJE</dc:title>
  <dc:creator>Krešimir Dominis</dc:creator>
  <cp:lastModifiedBy>Ana Vraneša</cp:lastModifiedBy>
  <cp:revision>125</cp:revision>
  <cp:lastPrinted>2021-10-21T13:26:07Z</cp:lastPrinted>
  <dcterms:created xsi:type="dcterms:W3CDTF">2020-12-17T16:29:08Z</dcterms:created>
  <dcterms:modified xsi:type="dcterms:W3CDTF">2022-02-04T08:58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50751923EA5F542A13D97F8CC32DF51</vt:lpwstr>
  </property>
</Properties>
</file>